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</p:sldMasterIdLst>
  <p:sldIdLst>
    <p:sldId id="258" r:id="rId2"/>
  </p:sldIdLst>
  <p:sldSz cx="9144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29" autoAdjust="0"/>
    <p:restoredTop sz="94660"/>
  </p:normalViewPr>
  <p:slideViewPr>
    <p:cSldViewPr snapToGrid="0">
      <p:cViewPr varScale="1">
        <p:scale>
          <a:sx n="89" d="100"/>
          <a:sy n="89" d="100"/>
        </p:scale>
        <p:origin x="82" y="8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ackGroundTitleSlide">
            <a:extLst>
              <a:ext uri="{FF2B5EF4-FFF2-40B4-BE49-F238E27FC236}">
                <a16:creationId xmlns:a16="http://schemas.microsoft.com/office/drawing/2014/main" id="{748809E5-0F15-4C27-A435-01D7E00A0A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023383" cy="667569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1" y="3644900"/>
            <a:ext cx="4005942" cy="1801900"/>
          </a:xfrm>
        </p:spPr>
        <p:txBody>
          <a:bodyPr anchor="t">
            <a:noAutofit/>
          </a:bodyPr>
          <a:lstStyle>
            <a:lvl1pPr>
              <a:defRPr sz="1800" cap="none" baseline="0">
                <a:solidFill>
                  <a:schemeClr val="bg2"/>
                </a:solidFill>
              </a:defRPr>
            </a:lvl1pPr>
          </a:lstStyle>
          <a:p>
            <a:r>
              <a:rPr lang="ru-RU" dirty="0"/>
              <a:t>ВВЕДИТЕ НАЗВАНИЕ ТЕМЫ ПРЕЗЕНТАЦИИ ТРЕНИНГА</a:t>
            </a:r>
            <a:br>
              <a:rPr lang="ru-RU" dirty="0"/>
            </a:br>
            <a:r>
              <a:rPr lang="en-US" dirty="0"/>
              <a:t>(</a:t>
            </a:r>
            <a:r>
              <a:rPr lang="ru-RU" dirty="0"/>
              <a:t>ОСТАВАЙТЕСЬ В ПРЕДЕЛАХ ОБЛАСТИ)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245819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Введите дату</a:t>
            </a:r>
          </a:p>
        </p:txBody>
      </p: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7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35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9" y="605698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2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имя и фамилию тренера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5868152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название подразделения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5679319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название программы</a:t>
            </a:r>
          </a:p>
        </p:txBody>
      </p:sp>
      <p:grpSp>
        <p:nvGrpSpPr>
          <p:cNvPr id="29" name="TitleLogoRus">
            <a:extLst>
              <a:ext uri="{FF2B5EF4-FFF2-40B4-BE49-F238E27FC236}">
                <a16:creationId xmlns:a16="http://schemas.microsoft.com/office/drawing/2014/main" id="{D89D192B-48C8-4215-B336-A0438880C21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595222" y="5788933"/>
            <a:ext cx="982721" cy="6191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1F0AF9D5-F02B-4481-85D0-356AFB8170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2C59374B-4924-4972-9F0B-AB1B990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8E234E09-40C0-4723-A56E-8A533C1A1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0F6C83FE-5FE0-45D9-88C5-3FACB8263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1909918F-D027-438F-A4D1-3C65FA60B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33AD4EFE-8108-457A-A63F-01C38B9F6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7B95ABC0-DB2A-41CC-BB72-706245CF7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7651679C-2C67-4577-8B62-0A9BA5E951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38" name="Freeform 19">
              <a:extLst>
                <a:ext uri="{FF2B5EF4-FFF2-40B4-BE49-F238E27FC236}">
                  <a16:creationId xmlns:a16="http://schemas.microsoft.com/office/drawing/2014/main" id="{18C44793-653F-4D83-9940-951240499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39" name="Freeform 20">
              <a:extLst>
                <a:ext uri="{FF2B5EF4-FFF2-40B4-BE49-F238E27FC236}">
                  <a16:creationId xmlns:a16="http://schemas.microsoft.com/office/drawing/2014/main" id="{51271626-65ED-4E2D-8B25-1E7D44622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CD3D35DD-0B55-40E1-B6E1-B7FF21034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41" name="Freeform 28">
              <a:extLst>
                <a:ext uri="{FF2B5EF4-FFF2-40B4-BE49-F238E27FC236}">
                  <a16:creationId xmlns:a16="http://schemas.microsoft.com/office/drawing/2014/main" id="{21BCC0C8-B2C1-4DF6-9488-6FBE314B2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  <p:sp>
          <p:nvSpPr>
            <p:cNvPr id="42" name="Freeform 29">
              <a:extLst>
                <a:ext uri="{FF2B5EF4-FFF2-40B4-BE49-F238E27FC236}">
                  <a16:creationId xmlns:a16="http://schemas.microsoft.com/office/drawing/2014/main" id="{262C76DA-837B-4B8C-B6A8-C39CC67A6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500">
                <a:solidFill>
                  <a:srgbClr val="3C3C3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70891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40" y="1268413"/>
            <a:ext cx="8569324" cy="2844800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803465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4"/>
            <a:ext cx="4176711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3" y="1268413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3" y="3897311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15561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9" y="188642"/>
            <a:ext cx="8560318" cy="610499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39" y="3897311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4"/>
            <a:ext cx="4176711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552615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9" y="188642"/>
            <a:ext cx="8560318" cy="610499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  <a:latin typeface="HeliosCond" panose="02000506040000020004" pitchFamily="2" charset="0"/>
                <a:cs typeface="DIN Pro Cond Bold" panose="020B0806020101010102" pitchFamily="34" charset="-52"/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6" y="1268414"/>
            <a:ext cx="2691331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9" y="1268414"/>
            <a:ext cx="2691331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2" y="1268414"/>
            <a:ext cx="2691331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127802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9" y="188642"/>
            <a:ext cx="8560318" cy="610499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39" y="3897311"/>
            <a:ext cx="8569325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182679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9" y="1268412"/>
            <a:ext cx="8569325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39" y="3904796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86783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3933827"/>
            <a:ext cx="4176713" cy="2411413"/>
          </a:xfrm>
        </p:spPr>
        <p:txBody>
          <a:bodyPr/>
          <a:lstStyle>
            <a:lvl1pPr>
              <a:defRPr>
                <a:latin typeface="HeliosCond" panose="02000506040000020004" pitchFamily="2" charset="0"/>
                <a:cs typeface="DIN Pro Cond Bold" panose="020B0806020101010102" pitchFamily="34" charset="-52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1" y="3933827"/>
            <a:ext cx="4176713" cy="2411413"/>
          </a:xfrm>
        </p:spPr>
        <p:txBody>
          <a:bodyPr/>
          <a:lstStyle>
            <a:lvl1pPr>
              <a:defRPr>
                <a:latin typeface="HeliosCond" panose="02000506040000020004" pitchFamily="2" charset="0"/>
                <a:cs typeface="DIN Pro Cond Bold" panose="020B0806020101010102" pitchFamily="34" charset="-52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  <a:cs typeface="DIN Pro Cond Bold" panose="020B0806020101010102" pitchFamily="34" charset="-52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  <a:cs typeface="DIN Pro Cond Bold" panose="020B0806020101010102" pitchFamily="34" charset="-52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911204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9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744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1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5"/>
            <a:ext cx="4176713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  <a:cs typeface="DIN Pro Cond Bold" panose="020B0806020101010102" pitchFamily="34" charset="-52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09177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9" y="188642"/>
            <a:ext cx="8560318" cy="610499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  <a:cs typeface="DIN Pro Cond Bold" panose="020B0806020101010102" pitchFamily="34" charset="-52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08407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тодический слайд">
    <p:bg>
      <p:bgPr>
        <a:solidFill>
          <a:schemeClr val="accent3">
            <a:lumMod val="20000"/>
            <a:lumOff val="8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FF6DB20-92B6-40ED-B5D2-ACB1683C25D7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66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0" y="1268415"/>
            <a:ext cx="8560318" cy="24479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968716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0" y="1268415"/>
            <a:ext cx="8560318" cy="24479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465954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1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39" y="3897311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930349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6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9" y="3897311"/>
            <a:ext cx="4176711" cy="2447926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949911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6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5"/>
            <a:ext cx="4176712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60273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6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9" y="126876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9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0472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8" y="1268414"/>
            <a:ext cx="5653087" cy="3313112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7" y="1272660"/>
            <a:ext cx="2700338" cy="1512888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7" y="4809671"/>
            <a:ext cx="2700338" cy="1512888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7" y="3041166"/>
            <a:ext cx="2700338" cy="1512888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2" y="4809671"/>
            <a:ext cx="2700338" cy="1512888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411749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88642"/>
            <a:ext cx="8569325" cy="610499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>
                <a:latin typeface="HeliosCond" panose="02000506040000020004" pitchFamily="2" charset="0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>
                <a:latin typeface="HeliosCond" panose="02000506040000020004" pitchFamily="2" charset="0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>
                <a:latin typeface="HeliosCond" panose="02000506040000020004" pitchFamily="2" charset="0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6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3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5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>
                <a:latin typeface="HeliosCond" panose="02000506040000020004" pitchFamily="2" charset="0"/>
              </a:defRPr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2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>
                <a:latin typeface="HeliosCond" panose="02000506040000020004" pitchFamily="2" charset="0"/>
              </a:defRPr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>
                <a:latin typeface="HeliosCond" panose="02000506040000020004" pitchFamily="2" charset="0"/>
              </a:defRPr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</p:spTree>
    <p:extLst>
      <p:ext uri="{BB962C8B-B14F-4D97-AF65-F5344CB8AC3E}">
        <p14:creationId xmlns:p14="http://schemas.microsoft.com/office/powerpoint/2010/main" val="1515610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41225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>
                <a:latin typeface="HeliosCond" panose="02000506040000020004" pitchFamily="2" charset="0"/>
              </a:defRPr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>
                <a:latin typeface="HeliosCond" panose="02000506040000020004" pitchFamily="2" charset="0"/>
              </a:defRPr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>
                <a:latin typeface="HeliosCond" panose="02000506040000020004" pitchFamily="2" charset="0"/>
              </a:defRPr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>
                <a:latin typeface="HeliosCond" panose="02000506040000020004" pitchFamily="2" charset="0"/>
              </a:defRPr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>
                <a:latin typeface="HeliosCond" panose="02000506040000020004" pitchFamily="2" charset="0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3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>
                <a:latin typeface="HeliosCond" panose="02000506040000020004" pitchFamily="2" charset="0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4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>
                <a:latin typeface="HeliosCond" panose="02000506040000020004" pitchFamily="2" charset="0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7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>
                <a:latin typeface="HeliosCond" panose="02000506040000020004" pitchFamily="2" charset="0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0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64622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3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>
                <a:latin typeface="HeliosCond" panose="02000506040000020004" pitchFamily="2" charset="0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40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>
                <a:latin typeface="HeliosCond" panose="02000506040000020004" pitchFamily="2" charset="0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9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>
                <a:latin typeface="HeliosCond" panose="02000506040000020004" pitchFamily="2" charset="0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3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>
                <a:latin typeface="HeliosCond" panose="02000506040000020004" pitchFamily="2" charset="0"/>
              </a:defRPr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4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>
                <a:latin typeface="HeliosCond" panose="02000506040000020004" pitchFamily="2" charset="0"/>
              </a:defRPr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9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>
                <a:latin typeface="HeliosCond" panose="02000506040000020004" pitchFamily="2" charset="0"/>
              </a:defRPr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</p:spTree>
    <p:extLst>
      <p:ext uri="{BB962C8B-B14F-4D97-AF65-F5344CB8AC3E}">
        <p14:creationId xmlns:p14="http://schemas.microsoft.com/office/powerpoint/2010/main" val="41501018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385310" y="310146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2100"/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417982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37" y="1268415"/>
            <a:ext cx="6372225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39" y="3068639"/>
            <a:ext cx="2016125" cy="3276600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830401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9" y="1268413"/>
            <a:ext cx="5616574" cy="1512887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9" y="3055146"/>
            <a:ext cx="5616574" cy="1512887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9" y="4841878"/>
            <a:ext cx="5616574" cy="1512887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590925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>
                <a:latin typeface="HeliosCond" panose="02000506040000020004" pitchFamily="2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8" y="1268413"/>
            <a:ext cx="5653087" cy="3313112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4797426"/>
            <a:ext cx="8569326" cy="1547813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296805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1262018"/>
            <a:ext cx="8569326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8816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3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2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3890918"/>
            <a:ext cx="8569326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670374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2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88" y="3890918"/>
            <a:ext cx="5616575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39" y="1262018"/>
            <a:ext cx="5616575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07488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6712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2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39" y="1262018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39" y="3055223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39" y="4825956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919321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7" y="1241223"/>
            <a:ext cx="4140200" cy="360000"/>
          </a:xfrm>
        </p:spPr>
        <p:txBody>
          <a:bodyPr anchor="b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7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7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3054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6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1246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 userDrawn="1"/>
        </p:nvSpPr>
        <p:spPr>
          <a:xfrm>
            <a:off x="641277" y="2690266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5" y="2587554"/>
            <a:ext cx="193739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5</a:t>
            </a:r>
          </a:p>
        </p:txBody>
      </p:sp>
      <p:sp>
        <p:nvSpPr>
          <p:cNvPr id="13" name="ContentsTitle3"/>
          <p:cNvSpPr txBox="1"/>
          <p:nvPr userDrawn="1"/>
        </p:nvSpPr>
        <p:spPr>
          <a:xfrm>
            <a:off x="641277" y="2026363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5" y="1910953"/>
            <a:ext cx="193739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3</a:t>
            </a:r>
          </a:p>
        </p:txBody>
      </p:sp>
      <p:sp>
        <p:nvSpPr>
          <p:cNvPr id="17" name="ContentsTitle4"/>
          <p:cNvSpPr txBox="1"/>
          <p:nvPr userDrawn="1"/>
        </p:nvSpPr>
        <p:spPr>
          <a:xfrm>
            <a:off x="641277" y="2359902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5" y="2250841"/>
            <a:ext cx="193739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4</a:t>
            </a:r>
          </a:p>
        </p:txBody>
      </p:sp>
      <p:sp>
        <p:nvSpPr>
          <p:cNvPr id="4" name="ContentsTitle1"/>
          <p:cNvSpPr txBox="1"/>
          <p:nvPr userDrawn="1"/>
        </p:nvSpPr>
        <p:spPr>
          <a:xfrm>
            <a:off x="641277" y="1340238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5" y="1212130"/>
            <a:ext cx="193739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1</a:t>
            </a:r>
          </a:p>
        </p:txBody>
      </p:sp>
      <p:sp>
        <p:nvSpPr>
          <p:cNvPr id="25" name="ContentsTitle6"/>
          <p:cNvSpPr txBox="1"/>
          <p:nvPr userDrawn="1"/>
        </p:nvSpPr>
        <p:spPr>
          <a:xfrm>
            <a:off x="641277" y="3023228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5" y="2926865"/>
            <a:ext cx="193739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6</a:t>
            </a:r>
          </a:p>
        </p:txBody>
      </p:sp>
      <p:sp>
        <p:nvSpPr>
          <p:cNvPr id="9" name="ContentsTitle2"/>
          <p:cNvSpPr txBox="1"/>
          <p:nvPr userDrawn="1"/>
        </p:nvSpPr>
        <p:spPr>
          <a:xfrm>
            <a:off x="641277" y="1686475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5" y="1564716"/>
            <a:ext cx="193739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2</a:t>
            </a:r>
          </a:p>
        </p:txBody>
      </p:sp>
      <p:sp>
        <p:nvSpPr>
          <p:cNvPr id="29" name="ContentsTitle7"/>
          <p:cNvSpPr txBox="1"/>
          <p:nvPr userDrawn="1"/>
        </p:nvSpPr>
        <p:spPr>
          <a:xfrm>
            <a:off x="641277" y="3372061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5" y="3256653"/>
            <a:ext cx="193739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 userDrawn="1"/>
        </p:nvSpPr>
        <p:spPr>
          <a:xfrm>
            <a:off x="641277" y="3711947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5" y="3596539"/>
            <a:ext cx="193739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8</a:t>
            </a:r>
          </a:p>
        </p:txBody>
      </p:sp>
      <p:sp>
        <p:nvSpPr>
          <p:cNvPr id="62" name="ContentsTitle13"/>
          <p:cNvSpPr txBox="1"/>
          <p:nvPr userDrawn="1"/>
        </p:nvSpPr>
        <p:spPr>
          <a:xfrm>
            <a:off x="649289" y="5474887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4" y="5359475"/>
            <a:ext cx="166712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13</a:t>
            </a:r>
          </a:p>
        </p:txBody>
      </p:sp>
      <p:sp>
        <p:nvSpPr>
          <p:cNvPr id="66" name="ContentsTitle11"/>
          <p:cNvSpPr txBox="1"/>
          <p:nvPr userDrawn="1"/>
        </p:nvSpPr>
        <p:spPr>
          <a:xfrm>
            <a:off x="649289" y="4788758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24" y="4660648"/>
            <a:ext cx="166712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11</a:t>
            </a:r>
          </a:p>
        </p:txBody>
      </p:sp>
      <p:sp>
        <p:nvSpPr>
          <p:cNvPr id="70" name="ContentsTitle15"/>
          <p:cNvSpPr txBox="1"/>
          <p:nvPr userDrawn="1"/>
        </p:nvSpPr>
        <p:spPr>
          <a:xfrm>
            <a:off x="649289" y="6161008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4" y="6032900"/>
            <a:ext cx="166712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15</a:t>
            </a:r>
          </a:p>
        </p:txBody>
      </p:sp>
      <p:sp>
        <p:nvSpPr>
          <p:cNvPr id="74" name="ContentsTitle12"/>
          <p:cNvSpPr txBox="1"/>
          <p:nvPr userDrawn="1"/>
        </p:nvSpPr>
        <p:spPr>
          <a:xfrm>
            <a:off x="649289" y="5134997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4" y="5013236"/>
            <a:ext cx="166712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12</a:t>
            </a:r>
          </a:p>
        </p:txBody>
      </p:sp>
      <p:sp>
        <p:nvSpPr>
          <p:cNvPr id="78" name="ContentsTitle9"/>
          <p:cNvSpPr txBox="1"/>
          <p:nvPr userDrawn="1"/>
        </p:nvSpPr>
        <p:spPr>
          <a:xfrm>
            <a:off x="649289" y="4077233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5" y="3936425"/>
            <a:ext cx="193739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9</a:t>
            </a:r>
          </a:p>
        </p:txBody>
      </p:sp>
      <p:sp>
        <p:nvSpPr>
          <p:cNvPr id="82" name="ContentsTitle14"/>
          <p:cNvSpPr txBox="1"/>
          <p:nvPr userDrawn="1"/>
        </p:nvSpPr>
        <p:spPr>
          <a:xfrm>
            <a:off x="649289" y="5808428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4" y="5699365"/>
            <a:ext cx="166712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14</a:t>
            </a:r>
          </a:p>
        </p:txBody>
      </p:sp>
      <p:sp>
        <p:nvSpPr>
          <p:cNvPr id="86" name="ContentsTitle10"/>
          <p:cNvSpPr txBox="1"/>
          <p:nvPr userDrawn="1"/>
        </p:nvSpPr>
        <p:spPr>
          <a:xfrm>
            <a:off x="649289" y="4436170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latin typeface="HeliosCond" panose="02000506040000020004" pitchFamily="2" charset="0"/>
                <a:cs typeface="DIN Pro Cond" panose="020B0506020101010102" pitchFamily="34" charset="-52"/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4" y="4301711"/>
            <a:ext cx="166712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  <a:cs typeface="DIN Pro Cond" panose="020B0506020101010102" pitchFamily="34" charset="-52"/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125116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2" y="1595831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2" y="1940494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2" y="2629820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2" y="2974483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2" y="3319146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2" y="366380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2" y="2285157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2" y="4008472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2" y="4353134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2" y="4697796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2" y="5042458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2" y="5387120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2" y="5731782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2" y="6076444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>
                <a:solidFill>
                  <a:schemeClr val="bg2"/>
                </a:solidFill>
                <a:latin typeface="HeliosCond" panose="02000506040000020004" pitchFamily="2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543257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3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3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2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2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3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3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2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2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3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3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3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</p:spTree>
    <p:extLst>
      <p:ext uri="{BB962C8B-B14F-4D97-AF65-F5344CB8AC3E}">
        <p14:creationId xmlns:p14="http://schemas.microsoft.com/office/powerpoint/2010/main" val="17190228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53" y="172655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5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5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5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75"/>
              </a:spcBef>
              <a:defRPr lang="ru-RU" dirty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0" y="1268414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2" y="4797425"/>
            <a:ext cx="5616811" cy="1547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281718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39" y="2204865"/>
            <a:ext cx="4176711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233187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9" y="2204865"/>
            <a:ext cx="8569325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949821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0" y="1268414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6" y="1268414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493503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3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3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3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3"/>
            <a:ext cx="856932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90016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2" y="479742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575786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3"/>
            <a:ext cx="8569325" cy="4176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04528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4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9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5"/>
            <a:ext cx="856932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09509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3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3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9" y="3293453"/>
            <a:ext cx="8569325" cy="426911"/>
          </a:xfrm>
        </p:spPr>
        <p:txBody>
          <a:bodyPr>
            <a:noAutofit/>
          </a:bodyPr>
          <a:lstStyle>
            <a:lvl1pPr>
              <a:defRPr sz="105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9" y="5901467"/>
            <a:ext cx="8569325" cy="427896"/>
          </a:xfrm>
        </p:spPr>
        <p:txBody>
          <a:bodyPr>
            <a:noAutofit/>
          </a:bodyPr>
          <a:lstStyle>
            <a:lvl1pPr>
              <a:defRPr sz="105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1612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2186398"/>
            <a:ext cx="8569325" cy="610499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1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003884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750" b="1" smtClean="0">
                <a:solidFill>
                  <a:schemeClr val="tx1"/>
                </a:solidFill>
              </a:rPr>
              <a:pPr algn="l"/>
              <a:t>‹#›</a:t>
            </a:fld>
            <a:endParaRPr lang="ru-RU" sz="75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3220307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675"/>
              </a:spcBef>
              <a:buNone/>
              <a:defRPr sz="1200" b="0">
                <a:solidFill>
                  <a:schemeClr val="bg2"/>
                </a:solidFill>
                <a:latin typeface="DIN Pro Cond" panose="020B0506020101010102" pitchFamily="34" charset="-52"/>
                <a:cs typeface="DIN Pro Cond" panose="020B0506020101010102" pitchFamily="34" charset="-52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 Введите текст</a:t>
            </a:r>
          </a:p>
        </p:txBody>
      </p:sp>
      <p:sp>
        <p:nvSpPr>
          <p:cNvPr id="11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750" noProof="0" dirty="0">
                <a:solidFill>
                  <a:schemeClr val="bg2"/>
                </a:solidFill>
              </a:rPr>
              <a:t>Газпром нефть</a:t>
            </a: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750" noProof="0" dirty="0">
                <a:solidFill>
                  <a:schemeClr val="bg2"/>
                </a:solidFill>
              </a:rPr>
              <a:t>Gazprom</a:t>
            </a:r>
            <a:r>
              <a:rPr lang="en-US" sz="750" baseline="0" noProof="0" dirty="0">
                <a:solidFill>
                  <a:schemeClr val="bg2"/>
                </a:solidFill>
              </a:rPr>
              <a:t> </a:t>
            </a:r>
            <a:r>
              <a:rPr lang="en-US" sz="750" baseline="0" noProof="0" dirty="0" err="1">
                <a:solidFill>
                  <a:schemeClr val="bg2"/>
                </a:solidFill>
              </a:rPr>
              <a:t>neft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4152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buFont typeface="Wingdings" pitchFamily="2" charset="2"/>
              <a:buNone/>
              <a:defRPr lang="ru-RU" sz="105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1"/>
            </a:lvl2pPr>
            <a:lvl3pPr marL="0" indent="0">
              <a:spcBef>
                <a:spcPts val="0"/>
              </a:spcBef>
              <a:spcAft>
                <a:spcPts val="900"/>
              </a:spcAft>
              <a:buFontTx/>
              <a:buNone/>
              <a:defRPr sz="9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487319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36E018-FBB8-4353-AA00-091FAE972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432" y="481949"/>
            <a:ext cx="8038761" cy="4589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60251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9">
            <a:extLst>
              <a:ext uri="{FF2B5EF4-FFF2-40B4-BE49-F238E27FC236}">
                <a16:creationId xmlns:a16="http://schemas.microsoft.com/office/drawing/2014/main" id="{F9241A8E-DDD7-4F14-8158-ABDCCCBF02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011" y="623912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>
                <a:solidFill>
                  <a:schemeClr val="bg1"/>
                </a:solidFill>
              </a:defRPr>
            </a:lvl1pPr>
          </a:lstStyle>
          <a:p>
            <a:fld id="{3DAF1A27-03AF-4E13-986C-EDC7F5CCA83C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Заголовок 3">
            <a:extLst>
              <a:ext uri="{FF2B5EF4-FFF2-40B4-BE49-F238E27FC236}">
                <a16:creationId xmlns:a16="http://schemas.microsoft.com/office/drawing/2014/main" id="{7BA557F3-2D0F-4E7B-BDDD-796814E48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523" y="518160"/>
            <a:ext cx="8521487" cy="472622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95D45DD8-E28F-44F2-91BD-7FB16A2853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523" y="1097362"/>
            <a:ext cx="852148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35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335768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4"/>
          <p:cNvSpPr>
            <a:spLocks noGrp="1"/>
          </p:cNvSpPr>
          <p:nvPr>
            <p:ph type="title"/>
          </p:nvPr>
        </p:nvSpPr>
        <p:spPr/>
        <p:txBody>
          <a:bodyPr vert="horz" rtlCol="0" upright="1"/>
          <a:lstStyle/>
          <a:p>
            <a:r>
              <a:t>Образец заголовка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" y="6191251"/>
            <a:ext cx="746523" cy="357188"/>
          </a:xfrm>
          <a:prstGeom prst="rect">
            <a:avLst/>
          </a:prstGeom>
        </p:spPr>
        <p:txBody>
          <a:bodyPr vert="horz" lIns="89794" tIns="44897" rIns="89794" bIns="44897" rtlCol="0" anchor="ctr" upright="1"/>
          <a:lstStyle>
            <a:lvl1pPr lvl="0" algn="r">
              <a:defRPr lang="en-US" sz="1128" b="1" dirty="0">
                <a:solidFill>
                  <a:schemeClr val="bg1"/>
                </a:solidFill>
                <a:latin typeface="Myriad Pro"/>
              </a:defRPr>
            </a:lvl1pPr>
          </a:lstStyle>
          <a:p>
            <a:fld id="{45D0BCE2-2C2F-4876-9C6D-824EB71365C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33495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1225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21"/>
            <a:ext cx="856297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1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68" marR="0" lvl="1" indent="-269868" algn="l" defTabSz="91437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25" marR="0" lvl="2" indent="-271457" algn="l" defTabSz="91437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5252135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8213306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7317798" y="1268414"/>
            <a:ext cx="1683544" cy="2244725"/>
          </a:xfrm>
          <a:prstGeom prst="ellipse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68297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76287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1" y="3644900"/>
            <a:ext cx="4284663" cy="1801900"/>
          </a:xfrm>
        </p:spPr>
        <p:txBody>
          <a:bodyPr anchor="t">
            <a:noAutofit/>
          </a:bodyPr>
          <a:lstStyle>
            <a:lvl1pPr>
              <a:defRPr sz="12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Введите название презентации</a:t>
            </a:r>
            <a:br>
              <a:rPr lang="ru-RU" dirty="0"/>
            </a:br>
            <a:r>
              <a:rPr lang="en-US" dirty="0"/>
              <a:t>(</a:t>
            </a:r>
            <a:r>
              <a:rPr lang="ru-RU" dirty="0"/>
              <a:t>оставайтесь в пределах области)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129705"/>
            <a:ext cx="3924612" cy="180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675" b="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Введите дату</a:t>
            </a:r>
          </a:p>
        </p:txBody>
      </p: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7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endParaRPr lang="ru-RU" sz="1350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9" y="5940871"/>
            <a:ext cx="392462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675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имя автора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5752038"/>
            <a:ext cx="392462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675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название подразделения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5563205"/>
            <a:ext cx="392462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675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название предприятия</a:t>
            </a:r>
          </a:p>
        </p:txBody>
      </p:sp>
      <p:sp>
        <p:nvSpPr>
          <p:cNvPr id="41" name="TradeSecretEng" hidden="1"/>
          <p:cNvSpPr txBox="1"/>
          <p:nvPr/>
        </p:nvSpPr>
        <p:spPr>
          <a:xfrm>
            <a:off x="7400857" y="176804"/>
            <a:ext cx="573876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 defTabSz="685800">
              <a:lnSpc>
                <a:spcPct val="90000"/>
              </a:lnSpc>
              <a:spcAft>
                <a:spcPts val="150"/>
              </a:spcAft>
              <a:defRPr/>
            </a:pPr>
            <a:r>
              <a:rPr lang="en-US" sz="900" b="1" dirty="0">
                <a:solidFill>
                  <a:srgbClr val="706F6F"/>
                </a:solidFill>
              </a:rPr>
              <a:t>Trade Secret</a:t>
            </a:r>
            <a:endParaRPr lang="ru-RU" sz="900" b="1" dirty="0">
              <a:solidFill>
                <a:srgbClr val="706F6F"/>
              </a:solidFill>
            </a:endParaRPr>
          </a:p>
        </p:txBody>
      </p:sp>
      <p:sp>
        <p:nvSpPr>
          <p:cNvPr id="42" name="ConfidentialEng" hidden="1"/>
          <p:cNvSpPr txBox="1"/>
          <p:nvPr/>
        </p:nvSpPr>
        <p:spPr>
          <a:xfrm>
            <a:off x="7414482" y="176804"/>
            <a:ext cx="546625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 defTabSz="685800">
              <a:lnSpc>
                <a:spcPct val="90000"/>
              </a:lnSpc>
              <a:spcAft>
                <a:spcPts val="150"/>
              </a:spcAft>
              <a:defRPr/>
            </a:pPr>
            <a:r>
              <a:rPr lang="en-US" sz="900" b="1" dirty="0">
                <a:solidFill>
                  <a:srgbClr val="706F6F"/>
                </a:solidFill>
              </a:rPr>
              <a:t>Confidential</a:t>
            </a:r>
            <a:endParaRPr lang="ru-RU" sz="825" b="1" dirty="0">
              <a:solidFill>
                <a:srgbClr val="706F6F"/>
              </a:solidFill>
            </a:endParaRPr>
          </a:p>
        </p:txBody>
      </p:sp>
      <p:sp>
        <p:nvSpPr>
          <p:cNvPr id="26" name="TradeSecretRus" hidden="1"/>
          <p:cNvSpPr txBox="1"/>
          <p:nvPr/>
        </p:nvSpPr>
        <p:spPr>
          <a:xfrm>
            <a:off x="7199680" y="176804"/>
            <a:ext cx="976229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 defTabSz="685800">
              <a:lnSpc>
                <a:spcPct val="90000"/>
              </a:lnSpc>
              <a:spcAft>
                <a:spcPts val="150"/>
              </a:spcAft>
              <a:defRPr/>
            </a:pPr>
            <a:r>
              <a:rPr lang="ru-RU" sz="900" b="1" dirty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28" name="ConfidentialRus" hidden="1"/>
          <p:cNvSpPr txBox="1"/>
          <p:nvPr/>
        </p:nvSpPr>
        <p:spPr>
          <a:xfrm>
            <a:off x="7243763" y="176804"/>
            <a:ext cx="888065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 defTabSz="685800">
              <a:lnSpc>
                <a:spcPct val="90000"/>
              </a:lnSpc>
              <a:spcAft>
                <a:spcPts val="150"/>
              </a:spcAft>
              <a:defRPr/>
            </a:pPr>
            <a:r>
              <a:rPr lang="ru-RU" sz="900" b="1" dirty="0">
                <a:solidFill>
                  <a:srgbClr val="706F6F"/>
                </a:solidFill>
              </a:rPr>
              <a:t>Конфиденциально</a:t>
            </a:r>
            <a:endParaRPr lang="ru-RU" sz="825" b="1" dirty="0">
              <a:solidFill>
                <a:srgbClr val="706F6F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3" y="404665"/>
            <a:ext cx="2394886" cy="372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685800">
              <a:lnSpc>
                <a:spcPct val="90000"/>
              </a:lnSpc>
              <a:defRPr/>
            </a:pPr>
            <a:r>
              <a:rPr lang="ru-RU" sz="675" dirty="0">
                <a:solidFill>
                  <a:srgbClr val="706F6F"/>
                </a:solidFill>
              </a:rPr>
              <a:t>Публичное акционерное общество</a:t>
            </a:r>
            <a:br>
              <a:rPr lang="ru-RU" sz="675" dirty="0">
                <a:solidFill>
                  <a:srgbClr val="706F6F"/>
                </a:solidFill>
              </a:rPr>
            </a:br>
            <a:r>
              <a:rPr lang="ru-RU" sz="675" dirty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675" dirty="0">
                <a:solidFill>
                  <a:srgbClr val="706F6F"/>
                </a:solidFill>
              </a:rPr>
            </a:br>
            <a:r>
              <a:rPr lang="ru-RU" sz="675" dirty="0">
                <a:solidFill>
                  <a:srgbClr val="706F6F"/>
                </a:solidFill>
              </a:rPr>
              <a:t>г. Санкт-Петербург, 190000</a:t>
            </a:r>
          </a:p>
        </p:txBody>
      </p:sp>
      <p:pic>
        <p:nvPicPr>
          <p:cNvPr id="29" name="Logo_GPN_arctic_eng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0061" y="5733256"/>
            <a:ext cx="2326603" cy="579600"/>
          </a:xfrm>
          <a:prstGeom prst="rect">
            <a:avLst/>
          </a:prstGeom>
        </p:spPr>
      </p:pic>
      <p:grpSp>
        <p:nvGrpSpPr>
          <p:cNvPr id="32" name="Logo_GPN_arctic_rus" hidden="1"/>
          <p:cNvGrpSpPr>
            <a:grpSpLocks noChangeAspect="1"/>
          </p:cNvGrpSpPr>
          <p:nvPr/>
        </p:nvGrpSpPr>
        <p:grpSpPr>
          <a:xfrm>
            <a:off x="6441273" y="5733256"/>
            <a:ext cx="2415390" cy="579600"/>
            <a:chOff x="5064695" y="1536503"/>
            <a:chExt cx="3281363" cy="787400"/>
          </a:xfrm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5064695" y="1536503"/>
              <a:ext cx="1506538" cy="787400"/>
            </a:xfrm>
            <a:custGeom>
              <a:avLst/>
              <a:gdLst>
                <a:gd name="T0" fmla="*/ 4579 w 6641"/>
                <a:gd name="T1" fmla="*/ 929 h 3472"/>
                <a:gd name="T2" fmla="*/ 4637 w 6641"/>
                <a:gd name="T3" fmla="*/ 1603 h 3472"/>
                <a:gd name="T4" fmla="*/ 2711 w 6641"/>
                <a:gd name="T5" fmla="*/ 1741 h 3472"/>
                <a:gd name="T6" fmla="*/ 3024 w 6641"/>
                <a:gd name="T7" fmla="*/ 1601 h 3472"/>
                <a:gd name="T8" fmla="*/ 2880 w 6641"/>
                <a:gd name="T9" fmla="*/ 1209 h 3472"/>
                <a:gd name="T10" fmla="*/ 3013 w 6641"/>
                <a:gd name="T11" fmla="*/ 929 h 3472"/>
                <a:gd name="T12" fmla="*/ 2802 w 6641"/>
                <a:gd name="T13" fmla="*/ 879 h 3472"/>
                <a:gd name="T14" fmla="*/ 3103 w 6641"/>
                <a:gd name="T15" fmla="*/ 810 h 3472"/>
                <a:gd name="T16" fmla="*/ 3205 w 6641"/>
                <a:gd name="T17" fmla="*/ 1142 h 3472"/>
                <a:gd name="T18" fmla="*/ 3114 w 6641"/>
                <a:gd name="T19" fmla="*/ 1261 h 3472"/>
                <a:gd name="T20" fmla="*/ 3191 w 6641"/>
                <a:gd name="T21" fmla="*/ 1669 h 3472"/>
                <a:gd name="T22" fmla="*/ 2890 w 6641"/>
                <a:gd name="T23" fmla="*/ 1738 h 3472"/>
                <a:gd name="T24" fmla="*/ 2969 w 6641"/>
                <a:gd name="T25" fmla="*/ 1414 h 3472"/>
                <a:gd name="T26" fmla="*/ 4213 w 6641"/>
                <a:gd name="T27" fmla="*/ 1413 h 3472"/>
                <a:gd name="T28" fmla="*/ 4292 w 6641"/>
                <a:gd name="T29" fmla="*/ 921 h 3472"/>
                <a:gd name="T30" fmla="*/ 5381 w 6641"/>
                <a:gd name="T31" fmla="*/ 808 h 3472"/>
                <a:gd name="T32" fmla="*/ 1482 w 6641"/>
                <a:gd name="T33" fmla="*/ 1009 h 3472"/>
                <a:gd name="T34" fmla="*/ 1327 w 6641"/>
                <a:gd name="T35" fmla="*/ 489 h 3472"/>
                <a:gd name="T36" fmla="*/ 1118 w 6641"/>
                <a:gd name="T37" fmla="*/ 959 h 3472"/>
                <a:gd name="T38" fmla="*/ 1123 w 6641"/>
                <a:gd name="T39" fmla="*/ 543 h 3472"/>
                <a:gd name="T40" fmla="*/ 1405 w 6641"/>
                <a:gd name="T41" fmla="*/ 387 h 3472"/>
                <a:gd name="T42" fmla="*/ 959 w 6641"/>
                <a:gd name="T43" fmla="*/ 2014 h 3472"/>
                <a:gd name="T44" fmla="*/ 1188 w 6641"/>
                <a:gd name="T45" fmla="*/ 1963 h 3472"/>
                <a:gd name="T46" fmla="*/ 1369 w 6641"/>
                <a:gd name="T47" fmla="*/ 2119 h 3472"/>
                <a:gd name="T48" fmla="*/ 1352 w 6641"/>
                <a:gd name="T49" fmla="*/ 2351 h 3472"/>
                <a:gd name="T50" fmla="*/ 1110 w 6641"/>
                <a:gd name="T51" fmla="*/ 2528 h 3472"/>
                <a:gd name="T52" fmla="*/ 648 w 6641"/>
                <a:gd name="T53" fmla="*/ 2471 h 3472"/>
                <a:gd name="T54" fmla="*/ 416 w 6641"/>
                <a:gd name="T55" fmla="*/ 2104 h 3472"/>
                <a:gd name="T56" fmla="*/ 531 w 6641"/>
                <a:gd name="T57" fmla="*/ 1703 h 3472"/>
                <a:gd name="T58" fmla="*/ 937 w 6641"/>
                <a:gd name="T59" fmla="*/ 813 h 3472"/>
                <a:gd name="T60" fmla="*/ 186 w 6641"/>
                <a:gd name="T61" fmla="*/ 1186 h 3472"/>
                <a:gd name="T62" fmla="*/ 42 w 6641"/>
                <a:gd name="T63" fmla="*/ 2020 h 3472"/>
                <a:gd name="T64" fmla="*/ 616 w 6641"/>
                <a:gd name="T65" fmla="*/ 2616 h 3472"/>
                <a:gd name="T66" fmla="*/ 1228 w 6641"/>
                <a:gd name="T67" fmla="*/ 2628 h 3472"/>
                <a:gd name="T68" fmla="*/ 1605 w 6641"/>
                <a:gd name="T69" fmla="*/ 2395 h 3472"/>
                <a:gd name="T70" fmla="*/ 5322 w 6641"/>
                <a:gd name="T71" fmla="*/ 2557 h 3472"/>
                <a:gd name="T72" fmla="*/ 5444 w 6641"/>
                <a:gd name="T73" fmla="*/ 2372 h 3472"/>
                <a:gd name="T74" fmla="*/ 4655 w 6641"/>
                <a:gd name="T75" fmla="*/ 2229 h 3472"/>
                <a:gd name="T76" fmla="*/ 3790 w 6641"/>
                <a:gd name="T77" fmla="*/ 2557 h 3472"/>
                <a:gd name="T78" fmla="*/ 3562 w 6641"/>
                <a:gd name="T79" fmla="*/ 2286 h 3472"/>
                <a:gd name="T80" fmla="*/ 3790 w 6641"/>
                <a:gd name="T81" fmla="*/ 2182 h 3472"/>
                <a:gd name="T82" fmla="*/ 3065 w 6641"/>
                <a:gd name="T83" fmla="*/ 2229 h 3472"/>
                <a:gd name="T84" fmla="*/ 2040 w 6641"/>
                <a:gd name="T85" fmla="*/ 2557 h 3472"/>
                <a:gd name="T86" fmla="*/ 3657 w 6641"/>
                <a:gd name="T87" fmla="*/ 2434 h 3472"/>
                <a:gd name="T88" fmla="*/ 5304 w 6641"/>
                <a:gd name="T89" fmla="*/ 2380 h 3472"/>
                <a:gd name="T90" fmla="*/ 5324 w 6641"/>
                <a:gd name="T91" fmla="*/ 2380 h 3472"/>
                <a:gd name="T92" fmla="*/ 3823 w 6641"/>
                <a:gd name="T93" fmla="*/ 2256 h 3472"/>
                <a:gd name="T94" fmla="*/ 1213 w 6641"/>
                <a:gd name="T95" fmla="*/ 1266 h 3472"/>
                <a:gd name="T96" fmla="*/ 1352 w 6641"/>
                <a:gd name="T97" fmla="*/ 1226 h 3472"/>
                <a:gd name="T98" fmla="*/ 1480 w 6641"/>
                <a:gd name="T99" fmla="*/ 392 h 3472"/>
                <a:gd name="T100" fmla="*/ 1121 w 6641"/>
                <a:gd name="T101" fmla="*/ 314 h 3472"/>
                <a:gd name="T102" fmla="*/ 1033 w 6641"/>
                <a:gd name="T103" fmla="*/ 1029 h 3472"/>
                <a:gd name="T104" fmla="*/ 1270 w 6641"/>
                <a:gd name="T105" fmla="*/ 1666 h 3472"/>
                <a:gd name="T106" fmla="*/ 1536 w 6641"/>
                <a:gd name="T107" fmla="*/ 1057 h 3472"/>
                <a:gd name="T108" fmla="*/ 4050 w 6641"/>
                <a:gd name="T109" fmla="*/ 924 h 3472"/>
                <a:gd name="T110" fmla="*/ 4050 w 6641"/>
                <a:gd name="T111" fmla="*/ 1321 h 3472"/>
                <a:gd name="T112" fmla="*/ 4438 w 6641"/>
                <a:gd name="T113" fmla="*/ 834 h 3472"/>
                <a:gd name="T114" fmla="*/ 4428 w 6641"/>
                <a:gd name="T115" fmla="*/ 1705 h 3472"/>
                <a:gd name="T116" fmla="*/ 4734 w 6641"/>
                <a:gd name="T117" fmla="*/ 1731 h 3472"/>
                <a:gd name="T118" fmla="*/ 4799 w 6641"/>
                <a:gd name="T119" fmla="*/ 893 h 3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41" h="3472">
                  <a:moveTo>
                    <a:pt x="4600" y="1626"/>
                  </a:moveTo>
                  <a:lnTo>
                    <a:pt x="4591" y="1625"/>
                  </a:lnTo>
                  <a:lnTo>
                    <a:pt x="4584" y="1622"/>
                  </a:lnTo>
                  <a:lnTo>
                    <a:pt x="4578" y="1619"/>
                  </a:lnTo>
                  <a:lnTo>
                    <a:pt x="4572" y="1614"/>
                  </a:lnTo>
                  <a:lnTo>
                    <a:pt x="4566" y="1609"/>
                  </a:lnTo>
                  <a:lnTo>
                    <a:pt x="4563" y="1603"/>
                  </a:lnTo>
                  <a:lnTo>
                    <a:pt x="4560" y="1596"/>
                  </a:lnTo>
                  <a:lnTo>
                    <a:pt x="4559" y="1588"/>
                  </a:lnTo>
                  <a:lnTo>
                    <a:pt x="4560" y="1587"/>
                  </a:lnTo>
                  <a:lnTo>
                    <a:pt x="4560" y="1587"/>
                  </a:lnTo>
                  <a:lnTo>
                    <a:pt x="4560" y="962"/>
                  </a:lnTo>
                  <a:lnTo>
                    <a:pt x="4560" y="959"/>
                  </a:lnTo>
                  <a:lnTo>
                    <a:pt x="4560" y="957"/>
                  </a:lnTo>
                  <a:lnTo>
                    <a:pt x="4562" y="950"/>
                  </a:lnTo>
                  <a:lnTo>
                    <a:pt x="4564" y="943"/>
                  </a:lnTo>
                  <a:lnTo>
                    <a:pt x="4568" y="938"/>
                  </a:lnTo>
                  <a:lnTo>
                    <a:pt x="4573" y="933"/>
                  </a:lnTo>
                  <a:lnTo>
                    <a:pt x="4579" y="929"/>
                  </a:lnTo>
                  <a:lnTo>
                    <a:pt x="4586" y="926"/>
                  </a:lnTo>
                  <a:lnTo>
                    <a:pt x="4592" y="924"/>
                  </a:lnTo>
                  <a:lnTo>
                    <a:pt x="4599" y="924"/>
                  </a:lnTo>
                  <a:lnTo>
                    <a:pt x="4607" y="924"/>
                  </a:lnTo>
                  <a:lnTo>
                    <a:pt x="4614" y="926"/>
                  </a:lnTo>
                  <a:lnTo>
                    <a:pt x="4621" y="929"/>
                  </a:lnTo>
                  <a:lnTo>
                    <a:pt x="4627" y="933"/>
                  </a:lnTo>
                  <a:lnTo>
                    <a:pt x="4631" y="938"/>
                  </a:lnTo>
                  <a:lnTo>
                    <a:pt x="4635" y="943"/>
                  </a:lnTo>
                  <a:lnTo>
                    <a:pt x="4638" y="950"/>
                  </a:lnTo>
                  <a:lnTo>
                    <a:pt x="4639" y="957"/>
                  </a:lnTo>
                  <a:lnTo>
                    <a:pt x="4639" y="959"/>
                  </a:lnTo>
                  <a:lnTo>
                    <a:pt x="4639" y="960"/>
                  </a:lnTo>
                  <a:lnTo>
                    <a:pt x="4639" y="962"/>
                  </a:lnTo>
                  <a:lnTo>
                    <a:pt x="4639" y="1587"/>
                  </a:lnTo>
                  <a:lnTo>
                    <a:pt x="4639" y="1587"/>
                  </a:lnTo>
                  <a:lnTo>
                    <a:pt x="4639" y="1588"/>
                  </a:lnTo>
                  <a:lnTo>
                    <a:pt x="4639" y="1596"/>
                  </a:lnTo>
                  <a:lnTo>
                    <a:pt x="4637" y="1603"/>
                  </a:lnTo>
                  <a:lnTo>
                    <a:pt x="4632" y="1609"/>
                  </a:lnTo>
                  <a:lnTo>
                    <a:pt x="4628" y="1614"/>
                  </a:lnTo>
                  <a:lnTo>
                    <a:pt x="4622" y="1619"/>
                  </a:lnTo>
                  <a:lnTo>
                    <a:pt x="4615" y="1622"/>
                  </a:lnTo>
                  <a:lnTo>
                    <a:pt x="4608" y="1625"/>
                  </a:lnTo>
                  <a:lnTo>
                    <a:pt x="4600" y="1626"/>
                  </a:lnTo>
                  <a:close/>
                  <a:moveTo>
                    <a:pt x="1872" y="808"/>
                  </a:moveTo>
                  <a:lnTo>
                    <a:pt x="2215" y="808"/>
                  </a:lnTo>
                  <a:lnTo>
                    <a:pt x="2215" y="924"/>
                  </a:lnTo>
                  <a:lnTo>
                    <a:pt x="2051" y="924"/>
                  </a:lnTo>
                  <a:lnTo>
                    <a:pt x="2051" y="1741"/>
                  </a:lnTo>
                  <a:lnTo>
                    <a:pt x="1872" y="1741"/>
                  </a:lnTo>
                  <a:lnTo>
                    <a:pt x="1872" y="808"/>
                  </a:lnTo>
                  <a:close/>
                  <a:moveTo>
                    <a:pt x="2241" y="1741"/>
                  </a:moveTo>
                  <a:lnTo>
                    <a:pt x="2417" y="1741"/>
                  </a:lnTo>
                  <a:lnTo>
                    <a:pt x="2434" y="1493"/>
                  </a:lnTo>
                  <a:lnTo>
                    <a:pt x="2518" y="1493"/>
                  </a:lnTo>
                  <a:lnTo>
                    <a:pt x="2536" y="1741"/>
                  </a:lnTo>
                  <a:lnTo>
                    <a:pt x="2711" y="1741"/>
                  </a:lnTo>
                  <a:lnTo>
                    <a:pt x="2618" y="808"/>
                  </a:lnTo>
                  <a:lnTo>
                    <a:pt x="2335" y="808"/>
                  </a:lnTo>
                  <a:lnTo>
                    <a:pt x="2241" y="1741"/>
                  </a:lnTo>
                  <a:close/>
                  <a:moveTo>
                    <a:pt x="2969" y="1414"/>
                  </a:moveTo>
                  <a:lnTo>
                    <a:pt x="2969" y="1589"/>
                  </a:lnTo>
                  <a:lnTo>
                    <a:pt x="2970" y="1597"/>
                  </a:lnTo>
                  <a:lnTo>
                    <a:pt x="2972" y="1604"/>
                  </a:lnTo>
                  <a:lnTo>
                    <a:pt x="2975" y="1610"/>
                  </a:lnTo>
                  <a:lnTo>
                    <a:pt x="2979" y="1614"/>
                  </a:lnTo>
                  <a:lnTo>
                    <a:pt x="2984" y="1617"/>
                  </a:lnTo>
                  <a:lnTo>
                    <a:pt x="2988" y="1619"/>
                  </a:lnTo>
                  <a:lnTo>
                    <a:pt x="2993" y="1620"/>
                  </a:lnTo>
                  <a:lnTo>
                    <a:pt x="2997" y="1620"/>
                  </a:lnTo>
                  <a:lnTo>
                    <a:pt x="3003" y="1620"/>
                  </a:lnTo>
                  <a:lnTo>
                    <a:pt x="3009" y="1618"/>
                  </a:lnTo>
                  <a:lnTo>
                    <a:pt x="3013" y="1614"/>
                  </a:lnTo>
                  <a:lnTo>
                    <a:pt x="3018" y="1611"/>
                  </a:lnTo>
                  <a:lnTo>
                    <a:pt x="3020" y="1606"/>
                  </a:lnTo>
                  <a:lnTo>
                    <a:pt x="3024" y="1601"/>
                  </a:lnTo>
                  <a:lnTo>
                    <a:pt x="3025" y="1595"/>
                  </a:lnTo>
                  <a:lnTo>
                    <a:pt x="3025" y="1589"/>
                  </a:lnTo>
                  <a:lnTo>
                    <a:pt x="3025" y="1372"/>
                  </a:lnTo>
                  <a:lnTo>
                    <a:pt x="3025" y="1362"/>
                  </a:lnTo>
                  <a:lnTo>
                    <a:pt x="3024" y="1351"/>
                  </a:lnTo>
                  <a:lnTo>
                    <a:pt x="3022" y="1345"/>
                  </a:lnTo>
                  <a:lnTo>
                    <a:pt x="3020" y="1341"/>
                  </a:lnTo>
                  <a:lnTo>
                    <a:pt x="3018" y="1336"/>
                  </a:lnTo>
                  <a:lnTo>
                    <a:pt x="3014" y="1332"/>
                  </a:lnTo>
                  <a:lnTo>
                    <a:pt x="3010" y="1327"/>
                  </a:lnTo>
                  <a:lnTo>
                    <a:pt x="3005" y="1324"/>
                  </a:lnTo>
                  <a:lnTo>
                    <a:pt x="3000" y="1320"/>
                  </a:lnTo>
                  <a:lnTo>
                    <a:pt x="2993" y="1317"/>
                  </a:lnTo>
                  <a:lnTo>
                    <a:pt x="2985" y="1314"/>
                  </a:lnTo>
                  <a:lnTo>
                    <a:pt x="2976" y="1313"/>
                  </a:lnTo>
                  <a:lnTo>
                    <a:pt x="2965" y="1312"/>
                  </a:lnTo>
                  <a:lnTo>
                    <a:pt x="2953" y="1312"/>
                  </a:lnTo>
                  <a:lnTo>
                    <a:pt x="2880" y="1312"/>
                  </a:lnTo>
                  <a:lnTo>
                    <a:pt x="2880" y="1209"/>
                  </a:lnTo>
                  <a:lnTo>
                    <a:pt x="2955" y="1209"/>
                  </a:lnTo>
                  <a:lnTo>
                    <a:pt x="2973" y="1209"/>
                  </a:lnTo>
                  <a:lnTo>
                    <a:pt x="2988" y="1207"/>
                  </a:lnTo>
                  <a:lnTo>
                    <a:pt x="2995" y="1204"/>
                  </a:lnTo>
                  <a:lnTo>
                    <a:pt x="3001" y="1202"/>
                  </a:lnTo>
                  <a:lnTo>
                    <a:pt x="3005" y="1200"/>
                  </a:lnTo>
                  <a:lnTo>
                    <a:pt x="3010" y="1196"/>
                  </a:lnTo>
                  <a:lnTo>
                    <a:pt x="3013" y="1192"/>
                  </a:lnTo>
                  <a:lnTo>
                    <a:pt x="3017" y="1187"/>
                  </a:lnTo>
                  <a:lnTo>
                    <a:pt x="3019" y="1182"/>
                  </a:lnTo>
                  <a:lnTo>
                    <a:pt x="3021" y="1175"/>
                  </a:lnTo>
                  <a:lnTo>
                    <a:pt x="3025" y="1159"/>
                  </a:lnTo>
                  <a:lnTo>
                    <a:pt x="3025" y="1140"/>
                  </a:lnTo>
                  <a:lnTo>
                    <a:pt x="3025" y="954"/>
                  </a:lnTo>
                  <a:lnTo>
                    <a:pt x="3025" y="949"/>
                  </a:lnTo>
                  <a:lnTo>
                    <a:pt x="3024" y="943"/>
                  </a:lnTo>
                  <a:lnTo>
                    <a:pt x="3020" y="937"/>
                  </a:lnTo>
                  <a:lnTo>
                    <a:pt x="3018" y="933"/>
                  </a:lnTo>
                  <a:lnTo>
                    <a:pt x="3013" y="929"/>
                  </a:lnTo>
                  <a:lnTo>
                    <a:pt x="3009" y="926"/>
                  </a:lnTo>
                  <a:lnTo>
                    <a:pt x="3003" y="925"/>
                  </a:lnTo>
                  <a:lnTo>
                    <a:pt x="2997" y="924"/>
                  </a:lnTo>
                  <a:lnTo>
                    <a:pt x="2993" y="924"/>
                  </a:lnTo>
                  <a:lnTo>
                    <a:pt x="2988" y="925"/>
                  </a:lnTo>
                  <a:lnTo>
                    <a:pt x="2984" y="927"/>
                  </a:lnTo>
                  <a:lnTo>
                    <a:pt x="2979" y="930"/>
                  </a:lnTo>
                  <a:lnTo>
                    <a:pt x="2975" y="934"/>
                  </a:lnTo>
                  <a:lnTo>
                    <a:pt x="2972" y="940"/>
                  </a:lnTo>
                  <a:lnTo>
                    <a:pt x="2970" y="946"/>
                  </a:lnTo>
                  <a:lnTo>
                    <a:pt x="2969" y="954"/>
                  </a:lnTo>
                  <a:lnTo>
                    <a:pt x="2969" y="1107"/>
                  </a:lnTo>
                  <a:lnTo>
                    <a:pt x="2789" y="1107"/>
                  </a:lnTo>
                  <a:lnTo>
                    <a:pt x="2789" y="975"/>
                  </a:lnTo>
                  <a:lnTo>
                    <a:pt x="2790" y="949"/>
                  </a:lnTo>
                  <a:lnTo>
                    <a:pt x="2792" y="921"/>
                  </a:lnTo>
                  <a:lnTo>
                    <a:pt x="2794" y="907"/>
                  </a:lnTo>
                  <a:lnTo>
                    <a:pt x="2798" y="893"/>
                  </a:lnTo>
                  <a:lnTo>
                    <a:pt x="2802" y="879"/>
                  </a:lnTo>
                  <a:lnTo>
                    <a:pt x="2808" y="867"/>
                  </a:lnTo>
                  <a:lnTo>
                    <a:pt x="2816" y="854"/>
                  </a:lnTo>
                  <a:lnTo>
                    <a:pt x="2825" y="843"/>
                  </a:lnTo>
                  <a:lnTo>
                    <a:pt x="2830" y="838"/>
                  </a:lnTo>
                  <a:lnTo>
                    <a:pt x="2835" y="834"/>
                  </a:lnTo>
                  <a:lnTo>
                    <a:pt x="2842" y="829"/>
                  </a:lnTo>
                  <a:lnTo>
                    <a:pt x="2848" y="825"/>
                  </a:lnTo>
                  <a:lnTo>
                    <a:pt x="2856" y="821"/>
                  </a:lnTo>
                  <a:lnTo>
                    <a:pt x="2864" y="818"/>
                  </a:lnTo>
                  <a:lnTo>
                    <a:pt x="2872" y="815"/>
                  </a:lnTo>
                  <a:lnTo>
                    <a:pt x="2881" y="812"/>
                  </a:lnTo>
                  <a:lnTo>
                    <a:pt x="2890" y="810"/>
                  </a:lnTo>
                  <a:lnTo>
                    <a:pt x="2900" y="809"/>
                  </a:lnTo>
                  <a:lnTo>
                    <a:pt x="2911" y="808"/>
                  </a:lnTo>
                  <a:lnTo>
                    <a:pt x="2922" y="808"/>
                  </a:lnTo>
                  <a:lnTo>
                    <a:pt x="3071" y="808"/>
                  </a:lnTo>
                  <a:lnTo>
                    <a:pt x="3083" y="808"/>
                  </a:lnTo>
                  <a:lnTo>
                    <a:pt x="3094" y="809"/>
                  </a:lnTo>
                  <a:lnTo>
                    <a:pt x="3103" y="810"/>
                  </a:lnTo>
                  <a:lnTo>
                    <a:pt x="3114" y="812"/>
                  </a:lnTo>
                  <a:lnTo>
                    <a:pt x="3123" y="815"/>
                  </a:lnTo>
                  <a:lnTo>
                    <a:pt x="3131" y="818"/>
                  </a:lnTo>
                  <a:lnTo>
                    <a:pt x="3139" y="821"/>
                  </a:lnTo>
                  <a:lnTo>
                    <a:pt x="3146" y="825"/>
                  </a:lnTo>
                  <a:lnTo>
                    <a:pt x="3152" y="829"/>
                  </a:lnTo>
                  <a:lnTo>
                    <a:pt x="3158" y="834"/>
                  </a:lnTo>
                  <a:lnTo>
                    <a:pt x="3164" y="838"/>
                  </a:lnTo>
                  <a:lnTo>
                    <a:pt x="3169" y="843"/>
                  </a:lnTo>
                  <a:lnTo>
                    <a:pt x="3179" y="854"/>
                  </a:lnTo>
                  <a:lnTo>
                    <a:pt x="3185" y="867"/>
                  </a:lnTo>
                  <a:lnTo>
                    <a:pt x="3191" y="879"/>
                  </a:lnTo>
                  <a:lnTo>
                    <a:pt x="3196" y="893"/>
                  </a:lnTo>
                  <a:lnTo>
                    <a:pt x="3199" y="907"/>
                  </a:lnTo>
                  <a:lnTo>
                    <a:pt x="3201" y="921"/>
                  </a:lnTo>
                  <a:lnTo>
                    <a:pt x="3205" y="949"/>
                  </a:lnTo>
                  <a:lnTo>
                    <a:pt x="3205" y="975"/>
                  </a:lnTo>
                  <a:lnTo>
                    <a:pt x="3205" y="1124"/>
                  </a:lnTo>
                  <a:lnTo>
                    <a:pt x="3205" y="1142"/>
                  </a:lnTo>
                  <a:lnTo>
                    <a:pt x="3203" y="1159"/>
                  </a:lnTo>
                  <a:lnTo>
                    <a:pt x="3198" y="1174"/>
                  </a:lnTo>
                  <a:lnTo>
                    <a:pt x="3193" y="1187"/>
                  </a:lnTo>
                  <a:lnTo>
                    <a:pt x="3188" y="1199"/>
                  </a:lnTo>
                  <a:lnTo>
                    <a:pt x="3181" y="1209"/>
                  </a:lnTo>
                  <a:lnTo>
                    <a:pt x="3173" y="1218"/>
                  </a:lnTo>
                  <a:lnTo>
                    <a:pt x="3164" y="1226"/>
                  </a:lnTo>
                  <a:lnTo>
                    <a:pt x="3155" y="1233"/>
                  </a:lnTo>
                  <a:lnTo>
                    <a:pt x="3146" y="1238"/>
                  </a:lnTo>
                  <a:lnTo>
                    <a:pt x="3135" y="1243"/>
                  </a:lnTo>
                  <a:lnTo>
                    <a:pt x="3125" y="1246"/>
                  </a:lnTo>
                  <a:lnTo>
                    <a:pt x="3115" y="1249"/>
                  </a:lnTo>
                  <a:lnTo>
                    <a:pt x="3103" y="1250"/>
                  </a:lnTo>
                  <a:lnTo>
                    <a:pt x="3093" y="1251"/>
                  </a:lnTo>
                  <a:lnTo>
                    <a:pt x="3083" y="1251"/>
                  </a:lnTo>
                  <a:lnTo>
                    <a:pt x="3083" y="1260"/>
                  </a:lnTo>
                  <a:lnTo>
                    <a:pt x="3094" y="1260"/>
                  </a:lnTo>
                  <a:lnTo>
                    <a:pt x="3104" y="1260"/>
                  </a:lnTo>
                  <a:lnTo>
                    <a:pt x="3114" y="1261"/>
                  </a:lnTo>
                  <a:lnTo>
                    <a:pt x="3123" y="1263"/>
                  </a:lnTo>
                  <a:lnTo>
                    <a:pt x="3139" y="1268"/>
                  </a:lnTo>
                  <a:lnTo>
                    <a:pt x="3152" y="1274"/>
                  </a:lnTo>
                  <a:lnTo>
                    <a:pt x="3165" y="1282"/>
                  </a:lnTo>
                  <a:lnTo>
                    <a:pt x="3174" y="1289"/>
                  </a:lnTo>
                  <a:lnTo>
                    <a:pt x="3183" y="1300"/>
                  </a:lnTo>
                  <a:lnTo>
                    <a:pt x="3189" y="1310"/>
                  </a:lnTo>
                  <a:lnTo>
                    <a:pt x="3195" y="1320"/>
                  </a:lnTo>
                  <a:lnTo>
                    <a:pt x="3198" y="1330"/>
                  </a:lnTo>
                  <a:lnTo>
                    <a:pt x="3201" y="1342"/>
                  </a:lnTo>
                  <a:lnTo>
                    <a:pt x="3203" y="1352"/>
                  </a:lnTo>
                  <a:lnTo>
                    <a:pt x="3205" y="1371"/>
                  </a:lnTo>
                  <a:lnTo>
                    <a:pt x="3205" y="1386"/>
                  </a:lnTo>
                  <a:lnTo>
                    <a:pt x="3205" y="1574"/>
                  </a:lnTo>
                  <a:lnTo>
                    <a:pt x="3205" y="1600"/>
                  </a:lnTo>
                  <a:lnTo>
                    <a:pt x="3201" y="1628"/>
                  </a:lnTo>
                  <a:lnTo>
                    <a:pt x="3199" y="1642"/>
                  </a:lnTo>
                  <a:lnTo>
                    <a:pt x="3196" y="1655"/>
                  </a:lnTo>
                  <a:lnTo>
                    <a:pt x="3191" y="1669"/>
                  </a:lnTo>
                  <a:lnTo>
                    <a:pt x="3185" y="1681"/>
                  </a:lnTo>
                  <a:lnTo>
                    <a:pt x="3179" y="1694"/>
                  </a:lnTo>
                  <a:lnTo>
                    <a:pt x="3169" y="1705"/>
                  </a:lnTo>
                  <a:lnTo>
                    <a:pt x="3164" y="1710"/>
                  </a:lnTo>
                  <a:lnTo>
                    <a:pt x="3158" y="1716"/>
                  </a:lnTo>
                  <a:lnTo>
                    <a:pt x="3152" y="1720"/>
                  </a:lnTo>
                  <a:lnTo>
                    <a:pt x="3146" y="1723"/>
                  </a:lnTo>
                  <a:lnTo>
                    <a:pt x="3139" y="1728"/>
                  </a:lnTo>
                  <a:lnTo>
                    <a:pt x="3131" y="1731"/>
                  </a:lnTo>
                  <a:lnTo>
                    <a:pt x="3123" y="1734"/>
                  </a:lnTo>
                  <a:lnTo>
                    <a:pt x="3114" y="1736"/>
                  </a:lnTo>
                  <a:lnTo>
                    <a:pt x="3103" y="1738"/>
                  </a:lnTo>
                  <a:lnTo>
                    <a:pt x="3094" y="1739"/>
                  </a:lnTo>
                  <a:lnTo>
                    <a:pt x="3083" y="1741"/>
                  </a:lnTo>
                  <a:lnTo>
                    <a:pt x="3071" y="1741"/>
                  </a:lnTo>
                  <a:lnTo>
                    <a:pt x="2922" y="1741"/>
                  </a:lnTo>
                  <a:lnTo>
                    <a:pt x="2911" y="1741"/>
                  </a:lnTo>
                  <a:lnTo>
                    <a:pt x="2900" y="1739"/>
                  </a:lnTo>
                  <a:lnTo>
                    <a:pt x="2890" y="1738"/>
                  </a:lnTo>
                  <a:lnTo>
                    <a:pt x="2881" y="1736"/>
                  </a:lnTo>
                  <a:lnTo>
                    <a:pt x="2872" y="1734"/>
                  </a:lnTo>
                  <a:lnTo>
                    <a:pt x="2864" y="1731"/>
                  </a:lnTo>
                  <a:lnTo>
                    <a:pt x="2856" y="1728"/>
                  </a:lnTo>
                  <a:lnTo>
                    <a:pt x="2848" y="1723"/>
                  </a:lnTo>
                  <a:lnTo>
                    <a:pt x="2842" y="1720"/>
                  </a:lnTo>
                  <a:lnTo>
                    <a:pt x="2835" y="1716"/>
                  </a:lnTo>
                  <a:lnTo>
                    <a:pt x="2830" y="1710"/>
                  </a:lnTo>
                  <a:lnTo>
                    <a:pt x="2825" y="1705"/>
                  </a:lnTo>
                  <a:lnTo>
                    <a:pt x="2816" y="1694"/>
                  </a:lnTo>
                  <a:lnTo>
                    <a:pt x="2808" y="1681"/>
                  </a:lnTo>
                  <a:lnTo>
                    <a:pt x="2802" y="1669"/>
                  </a:lnTo>
                  <a:lnTo>
                    <a:pt x="2798" y="1655"/>
                  </a:lnTo>
                  <a:lnTo>
                    <a:pt x="2794" y="1642"/>
                  </a:lnTo>
                  <a:lnTo>
                    <a:pt x="2792" y="1628"/>
                  </a:lnTo>
                  <a:lnTo>
                    <a:pt x="2790" y="1600"/>
                  </a:lnTo>
                  <a:lnTo>
                    <a:pt x="2789" y="1574"/>
                  </a:lnTo>
                  <a:lnTo>
                    <a:pt x="2789" y="1414"/>
                  </a:lnTo>
                  <a:lnTo>
                    <a:pt x="2969" y="1414"/>
                  </a:lnTo>
                  <a:close/>
                  <a:moveTo>
                    <a:pt x="3323" y="808"/>
                  </a:moveTo>
                  <a:lnTo>
                    <a:pt x="3740" y="808"/>
                  </a:lnTo>
                  <a:lnTo>
                    <a:pt x="3740" y="1741"/>
                  </a:lnTo>
                  <a:lnTo>
                    <a:pt x="3572" y="1741"/>
                  </a:lnTo>
                  <a:lnTo>
                    <a:pt x="3572" y="924"/>
                  </a:lnTo>
                  <a:lnTo>
                    <a:pt x="3491" y="924"/>
                  </a:lnTo>
                  <a:lnTo>
                    <a:pt x="3491" y="1741"/>
                  </a:lnTo>
                  <a:lnTo>
                    <a:pt x="3323" y="1741"/>
                  </a:lnTo>
                  <a:lnTo>
                    <a:pt x="3323" y="808"/>
                  </a:lnTo>
                  <a:close/>
                  <a:moveTo>
                    <a:pt x="3870" y="1741"/>
                  </a:moveTo>
                  <a:lnTo>
                    <a:pt x="4050" y="1741"/>
                  </a:lnTo>
                  <a:lnTo>
                    <a:pt x="4050" y="1424"/>
                  </a:lnTo>
                  <a:lnTo>
                    <a:pt x="4152" y="1424"/>
                  </a:lnTo>
                  <a:lnTo>
                    <a:pt x="4164" y="1424"/>
                  </a:lnTo>
                  <a:lnTo>
                    <a:pt x="4174" y="1422"/>
                  </a:lnTo>
                  <a:lnTo>
                    <a:pt x="4184" y="1421"/>
                  </a:lnTo>
                  <a:lnTo>
                    <a:pt x="4194" y="1419"/>
                  </a:lnTo>
                  <a:lnTo>
                    <a:pt x="4204" y="1417"/>
                  </a:lnTo>
                  <a:lnTo>
                    <a:pt x="4213" y="1413"/>
                  </a:lnTo>
                  <a:lnTo>
                    <a:pt x="4221" y="1411"/>
                  </a:lnTo>
                  <a:lnTo>
                    <a:pt x="4228" y="1407"/>
                  </a:lnTo>
                  <a:lnTo>
                    <a:pt x="4241" y="1399"/>
                  </a:lnTo>
                  <a:lnTo>
                    <a:pt x="4254" y="1388"/>
                  </a:lnTo>
                  <a:lnTo>
                    <a:pt x="4264" y="1377"/>
                  </a:lnTo>
                  <a:lnTo>
                    <a:pt x="4272" y="1364"/>
                  </a:lnTo>
                  <a:lnTo>
                    <a:pt x="4279" y="1352"/>
                  </a:lnTo>
                  <a:lnTo>
                    <a:pt x="4285" y="1338"/>
                  </a:lnTo>
                  <a:lnTo>
                    <a:pt x="4289" y="1325"/>
                  </a:lnTo>
                  <a:lnTo>
                    <a:pt x="4292" y="1311"/>
                  </a:lnTo>
                  <a:lnTo>
                    <a:pt x="4295" y="1296"/>
                  </a:lnTo>
                  <a:lnTo>
                    <a:pt x="4297" y="1283"/>
                  </a:lnTo>
                  <a:lnTo>
                    <a:pt x="4298" y="1269"/>
                  </a:lnTo>
                  <a:lnTo>
                    <a:pt x="4298" y="1257"/>
                  </a:lnTo>
                  <a:lnTo>
                    <a:pt x="4298" y="975"/>
                  </a:lnTo>
                  <a:lnTo>
                    <a:pt x="4298" y="962"/>
                  </a:lnTo>
                  <a:lnTo>
                    <a:pt x="4297" y="949"/>
                  </a:lnTo>
                  <a:lnTo>
                    <a:pt x="4295" y="935"/>
                  </a:lnTo>
                  <a:lnTo>
                    <a:pt x="4292" y="921"/>
                  </a:lnTo>
                  <a:lnTo>
                    <a:pt x="4289" y="907"/>
                  </a:lnTo>
                  <a:lnTo>
                    <a:pt x="4285" y="893"/>
                  </a:lnTo>
                  <a:lnTo>
                    <a:pt x="4279" y="879"/>
                  </a:lnTo>
                  <a:lnTo>
                    <a:pt x="4272" y="867"/>
                  </a:lnTo>
                  <a:lnTo>
                    <a:pt x="4264" y="854"/>
                  </a:lnTo>
                  <a:lnTo>
                    <a:pt x="4254" y="843"/>
                  </a:lnTo>
                  <a:lnTo>
                    <a:pt x="4241" y="834"/>
                  </a:lnTo>
                  <a:lnTo>
                    <a:pt x="4228" y="825"/>
                  </a:lnTo>
                  <a:lnTo>
                    <a:pt x="4221" y="821"/>
                  </a:lnTo>
                  <a:lnTo>
                    <a:pt x="4213" y="818"/>
                  </a:lnTo>
                  <a:lnTo>
                    <a:pt x="4204" y="815"/>
                  </a:lnTo>
                  <a:lnTo>
                    <a:pt x="4194" y="812"/>
                  </a:lnTo>
                  <a:lnTo>
                    <a:pt x="4184" y="810"/>
                  </a:lnTo>
                  <a:lnTo>
                    <a:pt x="4174" y="809"/>
                  </a:lnTo>
                  <a:lnTo>
                    <a:pt x="4164" y="808"/>
                  </a:lnTo>
                  <a:lnTo>
                    <a:pt x="4152" y="808"/>
                  </a:lnTo>
                  <a:lnTo>
                    <a:pt x="3870" y="808"/>
                  </a:lnTo>
                  <a:lnTo>
                    <a:pt x="3870" y="1741"/>
                  </a:lnTo>
                  <a:close/>
                  <a:moveTo>
                    <a:pt x="5381" y="808"/>
                  </a:moveTo>
                  <a:lnTo>
                    <a:pt x="5615" y="808"/>
                  </a:lnTo>
                  <a:lnTo>
                    <a:pt x="5615" y="1741"/>
                  </a:lnTo>
                  <a:lnTo>
                    <a:pt x="5435" y="1741"/>
                  </a:lnTo>
                  <a:lnTo>
                    <a:pt x="5435" y="1155"/>
                  </a:lnTo>
                  <a:lnTo>
                    <a:pt x="5429" y="1155"/>
                  </a:lnTo>
                  <a:lnTo>
                    <a:pt x="5337" y="1741"/>
                  </a:lnTo>
                  <a:lnTo>
                    <a:pt x="5193" y="1741"/>
                  </a:lnTo>
                  <a:lnTo>
                    <a:pt x="5100" y="1155"/>
                  </a:lnTo>
                  <a:lnTo>
                    <a:pt x="5094" y="1155"/>
                  </a:lnTo>
                  <a:lnTo>
                    <a:pt x="5094" y="1741"/>
                  </a:lnTo>
                  <a:lnTo>
                    <a:pt x="4914" y="1741"/>
                  </a:lnTo>
                  <a:lnTo>
                    <a:pt x="4914" y="808"/>
                  </a:lnTo>
                  <a:lnTo>
                    <a:pt x="5148" y="808"/>
                  </a:lnTo>
                  <a:lnTo>
                    <a:pt x="5264" y="1463"/>
                  </a:lnTo>
                  <a:lnTo>
                    <a:pt x="5381" y="808"/>
                  </a:lnTo>
                  <a:close/>
                  <a:moveTo>
                    <a:pt x="1488" y="903"/>
                  </a:moveTo>
                  <a:lnTo>
                    <a:pt x="1487" y="938"/>
                  </a:lnTo>
                  <a:lnTo>
                    <a:pt x="1486" y="974"/>
                  </a:lnTo>
                  <a:lnTo>
                    <a:pt x="1482" y="1009"/>
                  </a:lnTo>
                  <a:lnTo>
                    <a:pt x="1479" y="1043"/>
                  </a:lnTo>
                  <a:lnTo>
                    <a:pt x="1475" y="1075"/>
                  </a:lnTo>
                  <a:lnTo>
                    <a:pt x="1471" y="1105"/>
                  </a:lnTo>
                  <a:lnTo>
                    <a:pt x="1466" y="1133"/>
                  </a:lnTo>
                  <a:lnTo>
                    <a:pt x="1460" y="1157"/>
                  </a:lnTo>
                  <a:lnTo>
                    <a:pt x="1462" y="1117"/>
                  </a:lnTo>
                  <a:lnTo>
                    <a:pt x="1462" y="1072"/>
                  </a:lnTo>
                  <a:lnTo>
                    <a:pt x="1459" y="1027"/>
                  </a:lnTo>
                  <a:lnTo>
                    <a:pt x="1456" y="980"/>
                  </a:lnTo>
                  <a:lnTo>
                    <a:pt x="1451" y="933"/>
                  </a:lnTo>
                  <a:lnTo>
                    <a:pt x="1444" y="885"/>
                  </a:lnTo>
                  <a:lnTo>
                    <a:pt x="1438" y="840"/>
                  </a:lnTo>
                  <a:lnTo>
                    <a:pt x="1430" y="795"/>
                  </a:lnTo>
                  <a:lnTo>
                    <a:pt x="1418" y="750"/>
                  </a:lnTo>
                  <a:lnTo>
                    <a:pt x="1405" y="700"/>
                  </a:lnTo>
                  <a:lnTo>
                    <a:pt x="1387" y="645"/>
                  </a:lnTo>
                  <a:lnTo>
                    <a:pt x="1368" y="591"/>
                  </a:lnTo>
                  <a:lnTo>
                    <a:pt x="1348" y="539"/>
                  </a:lnTo>
                  <a:lnTo>
                    <a:pt x="1327" y="489"/>
                  </a:lnTo>
                  <a:lnTo>
                    <a:pt x="1316" y="465"/>
                  </a:lnTo>
                  <a:lnTo>
                    <a:pt x="1305" y="443"/>
                  </a:lnTo>
                  <a:lnTo>
                    <a:pt x="1295" y="424"/>
                  </a:lnTo>
                  <a:lnTo>
                    <a:pt x="1285" y="406"/>
                  </a:lnTo>
                  <a:lnTo>
                    <a:pt x="1276" y="423"/>
                  </a:lnTo>
                  <a:lnTo>
                    <a:pt x="1265" y="441"/>
                  </a:lnTo>
                  <a:lnTo>
                    <a:pt x="1256" y="461"/>
                  </a:lnTo>
                  <a:lnTo>
                    <a:pt x="1246" y="482"/>
                  </a:lnTo>
                  <a:lnTo>
                    <a:pt x="1227" y="528"/>
                  </a:lnTo>
                  <a:lnTo>
                    <a:pt x="1207" y="578"/>
                  </a:lnTo>
                  <a:lnTo>
                    <a:pt x="1189" y="632"/>
                  </a:lnTo>
                  <a:lnTo>
                    <a:pt x="1171" y="686"/>
                  </a:lnTo>
                  <a:lnTo>
                    <a:pt x="1156" y="741"/>
                  </a:lnTo>
                  <a:lnTo>
                    <a:pt x="1142" y="795"/>
                  </a:lnTo>
                  <a:lnTo>
                    <a:pt x="1137" y="821"/>
                  </a:lnTo>
                  <a:lnTo>
                    <a:pt x="1132" y="849"/>
                  </a:lnTo>
                  <a:lnTo>
                    <a:pt x="1128" y="877"/>
                  </a:lnTo>
                  <a:lnTo>
                    <a:pt x="1124" y="904"/>
                  </a:lnTo>
                  <a:lnTo>
                    <a:pt x="1118" y="959"/>
                  </a:lnTo>
                  <a:lnTo>
                    <a:pt x="1114" y="1011"/>
                  </a:lnTo>
                  <a:lnTo>
                    <a:pt x="1112" y="1059"/>
                  </a:lnTo>
                  <a:lnTo>
                    <a:pt x="1110" y="1101"/>
                  </a:lnTo>
                  <a:lnTo>
                    <a:pt x="1109" y="1135"/>
                  </a:lnTo>
                  <a:lnTo>
                    <a:pt x="1109" y="1160"/>
                  </a:lnTo>
                  <a:lnTo>
                    <a:pt x="1106" y="1138"/>
                  </a:lnTo>
                  <a:lnTo>
                    <a:pt x="1101" y="1109"/>
                  </a:lnTo>
                  <a:lnTo>
                    <a:pt x="1097" y="1070"/>
                  </a:lnTo>
                  <a:lnTo>
                    <a:pt x="1092" y="1025"/>
                  </a:lnTo>
                  <a:lnTo>
                    <a:pt x="1089" y="975"/>
                  </a:lnTo>
                  <a:lnTo>
                    <a:pt x="1085" y="921"/>
                  </a:lnTo>
                  <a:lnTo>
                    <a:pt x="1084" y="865"/>
                  </a:lnTo>
                  <a:lnTo>
                    <a:pt x="1085" y="807"/>
                  </a:lnTo>
                  <a:lnTo>
                    <a:pt x="1089" y="758"/>
                  </a:lnTo>
                  <a:lnTo>
                    <a:pt x="1093" y="710"/>
                  </a:lnTo>
                  <a:lnTo>
                    <a:pt x="1100" y="665"/>
                  </a:lnTo>
                  <a:lnTo>
                    <a:pt x="1107" y="620"/>
                  </a:lnTo>
                  <a:lnTo>
                    <a:pt x="1115" y="579"/>
                  </a:lnTo>
                  <a:lnTo>
                    <a:pt x="1123" y="543"/>
                  </a:lnTo>
                  <a:lnTo>
                    <a:pt x="1131" y="511"/>
                  </a:lnTo>
                  <a:lnTo>
                    <a:pt x="1138" y="485"/>
                  </a:lnTo>
                  <a:lnTo>
                    <a:pt x="1149" y="448"/>
                  </a:lnTo>
                  <a:lnTo>
                    <a:pt x="1161" y="412"/>
                  </a:lnTo>
                  <a:lnTo>
                    <a:pt x="1173" y="379"/>
                  </a:lnTo>
                  <a:lnTo>
                    <a:pt x="1185" y="348"/>
                  </a:lnTo>
                  <a:lnTo>
                    <a:pt x="1208" y="290"/>
                  </a:lnTo>
                  <a:lnTo>
                    <a:pt x="1230" y="241"/>
                  </a:lnTo>
                  <a:lnTo>
                    <a:pt x="1248" y="200"/>
                  </a:lnTo>
                  <a:lnTo>
                    <a:pt x="1265" y="168"/>
                  </a:lnTo>
                  <a:lnTo>
                    <a:pt x="1277" y="145"/>
                  </a:lnTo>
                  <a:lnTo>
                    <a:pt x="1285" y="133"/>
                  </a:lnTo>
                  <a:lnTo>
                    <a:pt x="1293" y="147"/>
                  </a:lnTo>
                  <a:lnTo>
                    <a:pt x="1308" y="172"/>
                  </a:lnTo>
                  <a:lnTo>
                    <a:pt x="1326" y="208"/>
                  </a:lnTo>
                  <a:lnTo>
                    <a:pt x="1348" y="251"/>
                  </a:lnTo>
                  <a:lnTo>
                    <a:pt x="1370" y="302"/>
                  </a:lnTo>
                  <a:lnTo>
                    <a:pt x="1393" y="358"/>
                  </a:lnTo>
                  <a:lnTo>
                    <a:pt x="1405" y="387"/>
                  </a:lnTo>
                  <a:lnTo>
                    <a:pt x="1416" y="418"/>
                  </a:lnTo>
                  <a:lnTo>
                    <a:pt x="1425" y="449"/>
                  </a:lnTo>
                  <a:lnTo>
                    <a:pt x="1434" y="481"/>
                  </a:lnTo>
                  <a:lnTo>
                    <a:pt x="1443" y="511"/>
                  </a:lnTo>
                  <a:lnTo>
                    <a:pt x="1450" y="543"/>
                  </a:lnTo>
                  <a:lnTo>
                    <a:pt x="1457" y="574"/>
                  </a:lnTo>
                  <a:lnTo>
                    <a:pt x="1463" y="603"/>
                  </a:lnTo>
                  <a:lnTo>
                    <a:pt x="1473" y="662"/>
                  </a:lnTo>
                  <a:lnTo>
                    <a:pt x="1480" y="719"/>
                  </a:lnTo>
                  <a:lnTo>
                    <a:pt x="1484" y="771"/>
                  </a:lnTo>
                  <a:lnTo>
                    <a:pt x="1487" y="820"/>
                  </a:lnTo>
                  <a:lnTo>
                    <a:pt x="1489" y="865"/>
                  </a:lnTo>
                  <a:lnTo>
                    <a:pt x="1488" y="903"/>
                  </a:lnTo>
                  <a:close/>
                  <a:moveTo>
                    <a:pt x="937" y="1741"/>
                  </a:moveTo>
                  <a:lnTo>
                    <a:pt x="937" y="2034"/>
                  </a:lnTo>
                  <a:lnTo>
                    <a:pt x="938" y="2034"/>
                  </a:lnTo>
                  <a:lnTo>
                    <a:pt x="938" y="2032"/>
                  </a:lnTo>
                  <a:lnTo>
                    <a:pt x="949" y="2023"/>
                  </a:lnTo>
                  <a:lnTo>
                    <a:pt x="959" y="2014"/>
                  </a:lnTo>
                  <a:lnTo>
                    <a:pt x="969" y="2006"/>
                  </a:lnTo>
                  <a:lnTo>
                    <a:pt x="980" y="2000"/>
                  </a:lnTo>
                  <a:lnTo>
                    <a:pt x="991" y="1992"/>
                  </a:lnTo>
                  <a:lnTo>
                    <a:pt x="1002" y="1986"/>
                  </a:lnTo>
                  <a:lnTo>
                    <a:pt x="1013" y="1980"/>
                  </a:lnTo>
                  <a:lnTo>
                    <a:pt x="1026" y="1975"/>
                  </a:lnTo>
                  <a:lnTo>
                    <a:pt x="1037" y="1971"/>
                  </a:lnTo>
                  <a:lnTo>
                    <a:pt x="1050" y="1967"/>
                  </a:lnTo>
                  <a:lnTo>
                    <a:pt x="1063" y="1963"/>
                  </a:lnTo>
                  <a:lnTo>
                    <a:pt x="1075" y="1961"/>
                  </a:lnTo>
                  <a:lnTo>
                    <a:pt x="1088" y="1959"/>
                  </a:lnTo>
                  <a:lnTo>
                    <a:pt x="1100" y="1958"/>
                  </a:lnTo>
                  <a:lnTo>
                    <a:pt x="1113" y="1956"/>
                  </a:lnTo>
                  <a:lnTo>
                    <a:pt x="1125" y="1956"/>
                  </a:lnTo>
                  <a:lnTo>
                    <a:pt x="1138" y="1956"/>
                  </a:lnTo>
                  <a:lnTo>
                    <a:pt x="1150" y="1958"/>
                  </a:lnTo>
                  <a:lnTo>
                    <a:pt x="1163" y="1959"/>
                  </a:lnTo>
                  <a:lnTo>
                    <a:pt x="1175" y="1961"/>
                  </a:lnTo>
                  <a:lnTo>
                    <a:pt x="1188" y="1963"/>
                  </a:lnTo>
                  <a:lnTo>
                    <a:pt x="1199" y="1967"/>
                  </a:lnTo>
                  <a:lnTo>
                    <a:pt x="1212" y="1971"/>
                  </a:lnTo>
                  <a:lnTo>
                    <a:pt x="1224" y="1975"/>
                  </a:lnTo>
                  <a:lnTo>
                    <a:pt x="1236" y="1980"/>
                  </a:lnTo>
                  <a:lnTo>
                    <a:pt x="1247" y="1986"/>
                  </a:lnTo>
                  <a:lnTo>
                    <a:pt x="1259" y="1992"/>
                  </a:lnTo>
                  <a:lnTo>
                    <a:pt x="1270" y="2000"/>
                  </a:lnTo>
                  <a:lnTo>
                    <a:pt x="1280" y="2006"/>
                  </a:lnTo>
                  <a:lnTo>
                    <a:pt x="1292" y="2014"/>
                  </a:lnTo>
                  <a:lnTo>
                    <a:pt x="1301" y="2023"/>
                  </a:lnTo>
                  <a:lnTo>
                    <a:pt x="1311" y="2032"/>
                  </a:lnTo>
                  <a:lnTo>
                    <a:pt x="1320" y="2043"/>
                  </a:lnTo>
                  <a:lnTo>
                    <a:pt x="1329" y="2052"/>
                  </a:lnTo>
                  <a:lnTo>
                    <a:pt x="1337" y="2063"/>
                  </a:lnTo>
                  <a:lnTo>
                    <a:pt x="1345" y="2073"/>
                  </a:lnTo>
                  <a:lnTo>
                    <a:pt x="1352" y="2085"/>
                  </a:lnTo>
                  <a:lnTo>
                    <a:pt x="1358" y="2096"/>
                  </a:lnTo>
                  <a:lnTo>
                    <a:pt x="1364" y="2107"/>
                  </a:lnTo>
                  <a:lnTo>
                    <a:pt x="1369" y="2119"/>
                  </a:lnTo>
                  <a:lnTo>
                    <a:pt x="1374" y="2131"/>
                  </a:lnTo>
                  <a:lnTo>
                    <a:pt x="1377" y="2143"/>
                  </a:lnTo>
                  <a:lnTo>
                    <a:pt x="1381" y="2155"/>
                  </a:lnTo>
                  <a:lnTo>
                    <a:pt x="1384" y="2168"/>
                  </a:lnTo>
                  <a:lnTo>
                    <a:pt x="1385" y="2180"/>
                  </a:lnTo>
                  <a:lnTo>
                    <a:pt x="1387" y="2193"/>
                  </a:lnTo>
                  <a:lnTo>
                    <a:pt x="1389" y="2205"/>
                  </a:lnTo>
                  <a:lnTo>
                    <a:pt x="1389" y="2218"/>
                  </a:lnTo>
                  <a:lnTo>
                    <a:pt x="1389" y="2230"/>
                  </a:lnTo>
                  <a:lnTo>
                    <a:pt x="1387" y="2243"/>
                  </a:lnTo>
                  <a:lnTo>
                    <a:pt x="1385" y="2255"/>
                  </a:lnTo>
                  <a:lnTo>
                    <a:pt x="1384" y="2268"/>
                  </a:lnTo>
                  <a:lnTo>
                    <a:pt x="1381" y="2280"/>
                  </a:lnTo>
                  <a:lnTo>
                    <a:pt x="1377" y="2292"/>
                  </a:lnTo>
                  <a:lnTo>
                    <a:pt x="1374" y="2304"/>
                  </a:lnTo>
                  <a:lnTo>
                    <a:pt x="1369" y="2315"/>
                  </a:lnTo>
                  <a:lnTo>
                    <a:pt x="1364" y="2328"/>
                  </a:lnTo>
                  <a:lnTo>
                    <a:pt x="1358" y="2339"/>
                  </a:lnTo>
                  <a:lnTo>
                    <a:pt x="1352" y="2351"/>
                  </a:lnTo>
                  <a:lnTo>
                    <a:pt x="1345" y="2361"/>
                  </a:lnTo>
                  <a:lnTo>
                    <a:pt x="1337" y="2372"/>
                  </a:lnTo>
                  <a:lnTo>
                    <a:pt x="1329" y="2382"/>
                  </a:lnTo>
                  <a:lnTo>
                    <a:pt x="1320" y="2393"/>
                  </a:lnTo>
                  <a:lnTo>
                    <a:pt x="1311" y="2403"/>
                  </a:lnTo>
                  <a:lnTo>
                    <a:pt x="1311" y="2403"/>
                  </a:lnTo>
                  <a:lnTo>
                    <a:pt x="1310" y="2404"/>
                  </a:lnTo>
                  <a:lnTo>
                    <a:pt x="1310" y="2404"/>
                  </a:lnTo>
                  <a:lnTo>
                    <a:pt x="1309" y="2404"/>
                  </a:lnTo>
                  <a:lnTo>
                    <a:pt x="1309" y="2405"/>
                  </a:lnTo>
                  <a:lnTo>
                    <a:pt x="1288" y="2423"/>
                  </a:lnTo>
                  <a:lnTo>
                    <a:pt x="1269" y="2440"/>
                  </a:lnTo>
                  <a:lnTo>
                    <a:pt x="1247" y="2456"/>
                  </a:lnTo>
                  <a:lnTo>
                    <a:pt x="1226" y="2471"/>
                  </a:lnTo>
                  <a:lnTo>
                    <a:pt x="1204" y="2485"/>
                  </a:lnTo>
                  <a:lnTo>
                    <a:pt x="1181" y="2497"/>
                  </a:lnTo>
                  <a:lnTo>
                    <a:pt x="1158" y="2509"/>
                  </a:lnTo>
                  <a:lnTo>
                    <a:pt x="1134" y="2519"/>
                  </a:lnTo>
                  <a:lnTo>
                    <a:pt x="1110" y="2528"/>
                  </a:lnTo>
                  <a:lnTo>
                    <a:pt x="1086" y="2536"/>
                  </a:lnTo>
                  <a:lnTo>
                    <a:pt x="1063" y="2541"/>
                  </a:lnTo>
                  <a:lnTo>
                    <a:pt x="1037" y="2547"/>
                  </a:lnTo>
                  <a:lnTo>
                    <a:pt x="1012" y="2552"/>
                  </a:lnTo>
                  <a:lnTo>
                    <a:pt x="987" y="2554"/>
                  </a:lnTo>
                  <a:lnTo>
                    <a:pt x="962" y="2556"/>
                  </a:lnTo>
                  <a:lnTo>
                    <a:pt x="937" y="2556"/>
                  </a:lnTo>
                  <a:lnTo>
                    <a:pt x="912" y="2556"/>
                  </a:lnTo>
                  <a:lnTo>
                    <a:pt x="887" y="2554"/>
                  </a:lnTo>
                  <a:lnTo>
                    <a:pt x="862" y="2552"/>
                  </a:lnTo>
                  <a:lnTo>
                    <a:pt x="837" y="2547"/>
                  </a:lnTo>
                  <a:lnTo>
                    <a:pt x="812" y="2541"/>
                  </a:lnTo>
                  <a:lnTo>
                    <a:pt x="788" y="2535"/>
                  </a:lnTo>
                  <a:lnTo>
                    <a:pt x="764" y="2528"/>
                  </a:lnTo>
                  <a:lnTo>
                    <a:pt x="740" y="2519"/>
                  </a:lnTo>
                  <a:lnTo>
                    <a:pt x="716" y="2509"/>
                  </a:lnTo>
                  <a:lnTo>
                    <a:pt x="693" y="2497"/>
                  </a:lnTo>
                  <a:lnTo>
                    <a:pt x="670" y="2485"/>
                  </a:lnTo>
                  <a:lnTo>
                    <a:pt x="648" y="2471"/>
                  </a:lnTo>
                  <a:lnTo>
                    <a:pt x="626" y="2456"/>
                  </a:lnTo>
                  <a:lnTo>
                    <a:pt x="605" y="2439"/>
                  </a:lnTo>
                  <a:lnTo>
                    <a:pt x="585" y="2422"/>
                  </a:lnTo>
                  <a:lnTo>
                    <a:pt x="565" y="2404"/>
                  </a:lnTo>
                  <a:lnTo>
                    <a:pt x="548" y="2387"/>
                  </a:lnTo>
                  <a:lnTo>
                    <a:pt x="534" y="2369"/>
                  </a:lnTo>
                  <a:lnTo>
                    <a:pt x="519" y="2351"/>
                  </a:lnTo>
                  <a:lnTo>
                    <a:pt x="505" y="2332"/>
                  </a:lnTo>
                  <a:lnTo>
                    <a:pt x="492" y="2313"/>
                  </a:lnTo>
                  <a:lnTo>
                    <a:pt x="480" y="2294"/>
                  </a:lnTo>
                  <a:lnTo>
                    <a:pt x="470" y="2273"/>
                  </a:lnTo>
                  <a:lnTo>
                    <a:pt x="459" y="2253"/>
                  </a:lnTo>
                  <a:lnTo>
                    <a:pt x="450" y="2232"/>
                  </a:lnTo>
                  <a:lnTo>
                    <a:pt x="442" y="2212"/>
                  </a:lnTo>
                  <a:lnTo>
                    <a:pt x="435" y="2190"/>
                  </a:lnTo>
                  <a:lnTo>
                    <a:pt x="429" y="2169"/>
                  </a:lnTo>
                  <a:lnTo>
                    <a:pt x="424" y="2147"/>
                  </a:lnTo>
                  <a:lnTo>
                    <a:pt x="419" y="2126"/>
                  </a:lnTo>
                  <a:lnTo>
                    <a:pt x="416" y="2104"/>
                  </a:lnTo>
                  <a:lnTo>
                    <a:pt x="414" y="2082"/>
                  </a:lnTo>
                  <a:lnTo>
                    <a:pt x="412" y="2060"/>
                  </a:lnTo>
                  <a:lnTo>
                    <a:pt x="412" y="2038"/>
                  </a:lnTo>
                  <a:lnTo>
                    <a:pt x="412" y="2015"/>
                  </a:lnTo>
                  <a:lnTo>
                    <a:pt x="413" y="1994"/>
                  </a:lnTo>
                  <a:lnTo>
                    <a:pt x="415" y="1972"/>
                  </a:lnTo>
                  <a:lnTo>
                    <a:pt x="418" y="1950"/>
                  </a:lnTo>
                  <a:lnTo>
                    <a:pt x="422" y="1928"/>
                  </a:lnTo>
                  <a:lnTo>
                    <a:pt x="427" y="1906"/>
                  </a:lnTo>
                  <a:lnTo>
                    <a:pt x="433" y="1885"/>
                  </a:lnTo>
                  <a:lnTo>
                    <a:pt x="440" y="1864"/>
                  </a:lnTo>
                  <a:lnTo>
                    <a:pt x="448" y="1843"/>
                  </a:lnTo>
                  <a:lnTo>
                    <a:pt x="456" y="1822"/>
                  </a:lnTo>
                  <a:lnTo>
                    <a:pt x="466" y="1802"/>
                  </a:lnTo>
                  <a:lnTo>
                    <a:pt x="476" y="1781"/>
                  </a:lnTo>
                  <a:lnTo>
                    <a:pt x="488" y="1762"/>
                  </a:lnTo>
                  <a:lnTo>
                    <a:pt x="500" y="1743"/>
                  </a:lnTo>
                  <a:lnTo>
                    <a:pt x="515" y="1722"/>
                  </a:lnTo>
                  <a:lnTo>
                    <a:pt x="531" y="1703"/>
                  </a:lnTo>
                  <a:lnTo>
                    <a:pt x="547" y="1684"/>
                  </a:lnTo>
                  <a:lnTo>
                    <a:pt x="565" y="1666"/>
                  </a:lnTo>
                  <a:lnTo>
                    <a:pt x="585" y="1646"/>
                  </a:lnTo>
                  <a:lnTo>
                    <a:pt x="605" y="1629"/>
                  </a:lnTo>
                  <a:lnTo>
                    <a:pt x="626" y="1613"/>
                  </a:lnTo>
                  <a:lnTo>
                    <a:pt x="648" y="1599"/>
                  </a:lnTo>
                  <a:lnTo>
                    <a:pt x="670" y="1585"/>
                  </a:lnTo>
                  <a:lnTo>
                    <a:pt x="693" y="1572"/>
                  </a:lnTo>
                  <a:lnTo>
                    <a:pt x="716" y="1561"/>
                  </a:lnTo>
                  <a:lnTo>
                    <a:pt x="740" y="1551"/>
                  </a:lnTo>
                  <a:lnTo>
                    <a:pt x="764" y="1542"/>
                  </a:lnTo>
                  <a:lnTo>
                    <a:pt x="788" y="1534"/>
                  </a:lnTo>
                  <a:lnTo>
                    <a:pt x="812" y="1527"/>
                  </a:lnTo>
                  <a:lnTo>
                    <a:pt x="837" y="1522"/>
                  </a:lnTo>
                  <a:lnTo>
                    <a:pt x="862" y="1518"/>
                  </a:lnTo>
                  <a:lnTo>
                    <a:pt x="887" y="1514"/>
                  </a:lnTo>
                  <a:lnTo>
                    <a:pt x="912" y="1513"/>
                  </a:lnTo>
                  <a:lnTo>
                    <a:pt x="937" y="1512"/>
                  </a:lnTo>
                  <a:lnTo>
                    <a:pt x="937" y="813"/>
                  </a:lnTo>
                  <a:lnTo>
                    <a:pt x="889" y="815"/>
                  </a:lnTo>
                  <a:lnTo>
                    <a:pt x="841" y="818"/>
                  </a:lnTo>
                  <a:lnTo>
                    <a:pt x="795" y="824"/>
                  </a:lnTo>
                  <a:lnTo>
                    <a:pt x="749" y="832"/>
                  </a:lnTo>
                  <a:lnTo>
                    <a:pt x="703" y="842"/>
                  </a:lnTo>
                  <a:lnTo>
                    <a:pt x="659" y="854"/>
                  </a:lnTo>
                  <a:lnTo>
                    <a:pt x="616" y="869"/>
                  </a:lnTo>
                  <a:lnTo>
                    <a:pt x="572" y="886"/>
                  </a:lnTo>
                  <a:lnTo>
                    <a:pt x="531" y="904"/>
                  </a:lnTo>
                  <a:lnTo>
                    <a:pt x="490" y="925"/>
                  </a:lnTo>
                  <a:lnTo>
                    <a:pt x="451" y="948"/>
                  </a:lnTo>
                  <a:lnTo>
                    <a:pt x="414" y="971"/>
                  </a:lnTo>
                  <a:lnTo>
                    <a:pt x="376" y="998"/>
                  </a:lnTo>
                  <a:lnTo>
                    <a:pt x="341" y="1026"/>
                  </a:lnTo>
                  <a:lnTo>
                    <a:pt x="307" y="1054"/>
                  </a:lnTo>
                  <a:lnTo>
                    <a:pt x="275" y="1085"/>
                  </a:lnTo>
                  <a:lnTo>
                    <a:pt x="244" y="1118"/>
                  </a:lnTo>
                  <a:lnTo>
                    <a:pt x="214" y="1152"/>
                  </a:lnTo>
                  <a:lnTo>
                    <a:pt x="186" y="1186"/>
                  </a:lnTo>
                  <a:lnTo>
                    <a:pt x="160" y="1224"/>
                  </a:lnTo>
                  <a:lnTo>
                    <a:pt x="136" y="1261"/>
                  </a:lnTo>
                  <a:lnTo>
                    <a:pt x="113" y="1300"/>
                  </a:lnTo>
                  <a:lnTo>
                    <a:pt x="92" y="1339"/>
                  </a:lnTo>
                  <a:lnTo>
                    <a:pt x="74" y="1382"/>
                  </a:lnTo>
                  <a:lnTo>
                    <a:pt x="57" y="1424"/>
                  </a:lnTo>
                  <a:lnTo>
                    <a:pt x="42" y="1467"/>
                  </a:lnTo>
                  <a:lnTo>
                    <a:pt x="30" y="1511"/>
                  </a:lnTo>
                  <a:lnTo>
                    <a:pt x="19" y="1555"/>
                  </a:lnTo>
                  <a:lnTo>
                    <a:pt x="10" y="1601"/>
                  </a:lnTo>
                  <a:lnTo>
                    <a:pt x="4" y="1647"/>
                  </a:lnTo>
                  <a:lnTo>
                    <a:pt x="1" y="1695"/>
                  </a:lnTo>
                  <a:lnTo>
                    <a:pt x="0" y="1743"/>
                  </a:lnTo>
                  <a:lnTo>
                    <a:pt x="1" y="1791"/>
                  </a:lnTo>
                  <a:lnTo>
                    <a:pt x="4" y="1838"/>
                  </a:lnTo>
                  <a:lnTo>
                    <a:pt x="10" y="1885"/>
                  </a:lnTo>
                  <a:lnTo>
                    <a:pt x="19" y="1930"/>
                  </a:lnTo>
                  <a:lnTo>
                    <a:pt x="30" y="1976"/>
                  </a:lnTo>
                  <a:lnTo>
                    <a:pt x="42" y="2020"/>
                  </a:lnTo>
                  <a:lnTo>
                    <a:pt x="57" y="2063"/>
                  </a:lnTo>
                  <a:lnTo>
                    <a:pt x="74" y="2105"/>
                  </a:lnTo>
                  <a:lnTo>
                    <a:pt x="92" y="2146"/>
                  </a:lnTo>
                  <a:lnTo>
                    <a:pt x="113" y="2186"/>
                  </a:lnTo>
                  <a:lnTo>
                    <a:pt x="136" y="2226"/>
                  </a:lnTo>
                  <a:lnTo>
                    <a:pt x="160" y="2263"/>
                  </a:lnTo>
                  <a:lnTo>
                    <a:pt x="186" y="2299"/>
                  </a:lnTo>
                  <a:lnTo>
                    <a:pt x="214" y="2335"/>
                  </a:lnTo>
                  <a:lnTo>
                    <a:pt x="244" y="2369"/>
                  </a:lnTo>
                  <a:lnTo>
                    <a:pt x="275" y="2401"/>
                  </a:lnTo>
                  <a:lnTo>
                    <a:pt x="307" y="2431"/>
                  </a:lnTo>
                  <a:lnTo>
                    <a:pt x="341" y="2461"/>
                  </a:lnTo>
                  <a:lnTo>
                    <a:pt x="376" y="2488"/>
                  </a:lnTo>
                  <a:lnTo>
                    <a:pt x="414" y="2514"/>
                  </a:lnTo>
                  <a:lnTo>
                    <a:pt x="451" y="2538"/>
                  </a:lnTo>
                  <a:lnTo>
                    <a:pt x="490" y="2561"/>
                  </a:lnTo>
                  <a:lnTo>
                    <a:pt x="531" y="2581"/>
                  </a:lnTo>
                  <a:lnTo>
                    <a:pt x="572" y="2601"/>
                  </a:lnTo>
                  <a:lnTo>
                    <a:pt x="616" y="2616"/>
                  </a:lnTo>
                  <a:lnTo>
                    <a:pt x="659" y="2631"/>
                  </a:lnTo>
                  <a:lnTo>
                    <a:pt x="703" y="2644"/>
                  </a:lnTo>
                  <a:lnTo>
                    <a:pt x="749" y="2654"/>
                  </a:lnTo>
                  <a:lnTo>
                    <a:pt x="795" y="2662"/>
                  </a:lnTo>
                  <a:lnTo>
                    <a:pt x="841" y="2669"/>
                  </a:lnTo>
                  <a:lnTo>
                    <a:pt x="889" y="2672"/>
                  </a:lnTo>
                  <a:lnTo>
                    <a:pt x="937" y="2673"/>
                  </a:lnTo>
                  <a:lnTo>
                    <a:pt x="962" y="2673"/>
                  </a:lnTo>
                  <a:lnTo>
                    <a:pt x="987" y="2672"/>
                  </a:lnTo>
                  <a:lnTo>
                    <a:pt x="1012" y="2670"/>
                  </a:lnTo>
                  <a:lnTo>
                    <a:pt x="1037" y="2668"/>
                  </a:lnTo>
                  <a:lnTo>
                    <a:pt x="1061" y="2665"/>
                  </a:lnTo>
                  <a:lnTo>
                    <a:pt x="1086" y="2662"/>
                  </a:lnTo>
                  <a:lnTo>
                    <a:pt x="1110" y="2657"/>
                  </a:lnTo>
                  <a:lnTo>
                    <a:pt x="1134" y="2653"/>
                  </a:lnTo>
                  <a:lnTo>
                    <a:pt x="1158" y="2647"/>
                  </a:lnTo>
                  <a:lnTo>
                    <a:pt x="1181" y="2641"/>
                  </a:lnTo>
                  <a:lnTo>
                    <a:pt x="1205" y="2635"/>
                  </a:lnTo>
                  <a:lnTo>
                    <a:pt x="1228" y="2628"/>
                  </a:lnTo>
                  <a:lnTo>
                    <a:pt x="1251" y="2620"/>
                  </a:lnTo>
                  <a:lnTo>
                    <a:pt x="1272" y="2612"/>
                  </a:lnTo>
                  <a:lnTo>
                    <a:pt x="1295" y="2603"/>
                  </a:lnTo>
                  <a:lnTo>
                    <a:pt x="1317" y="2594"/>
                  </a:lnTo>
                  <a:lnTo>
                    <a:pt x="1338" y="2584"/>
                  </a:lnTo>
                  <a:lnTo>
                    <a:pt x="1359" y="2573"/>
                  </a:lnTo>
                  <a:lnTo>
                    <a:pt x="1381" y="2563"/>
                  </a:lnTo>
                  <a:lnTo>
                    <a:pt x="1401" y="2552"/>
                  </a:lnTo>
                  <a:lnTo>
                    <a:pt x="1422" y="2539"/>
                  </a:lnTo>
                  <a:lnTo>
                    <a:pt x="1441" y="2527"/>
                  </a:lnTo>
                  <a:lnTo>
                    <a:pt x="1462" y="2514"/>
                  </a:lnTo>
                  <a:lnTo>
                    <a:pt x="1481" y="2501"/>
                  </a:lnTo>
                  <a:lnTo>
                    <a:pt x="1499" y="2487"/>
                  </a:lnTo>
                  <a:lnTo>
                    <a:pt x="1517" y="2473"/>
                  </a:lnTo>
                  <a:lnTo>
                    <a:pt x="1536" y="2459"/>
                  </a:lnTo>
                  <a:lnTo>
                    <a:pt x="1554" y="2444"/>
                  </a:lnTo>
                  <a:lnTo>
                    <a:pt x="1571" y="2428"/>
                  </a:lnTo>
                  <a:lnTo>
                    <a:pt x="1588" y="2412"/>
                  </a:lnTo>
                  <a:lnTo>
                    <a:pt x="1605" y="2395"/>
                  </a:lnTo>
                  <a:lnTo>
                    <a:pt x="1621" y="2379"/>
                  </a:lnTo>
                  <a:lnTo>
                    <a:pt x="1621" y="1741"/>
                  </a:lnTo>
                  <a:lnTo>
                    <a:pt x="937" y="1741"/>
                  </a:lnTo>
                  <a:close/>
                  <a:moveTo>
                    <a:pt x="5447" y="2453"/>
                  </a:moveTo>
                  <a:lnTo>
                    <a:pt x="5446" y="2469"/>
                  </a:lnTo>
                  <a:lnTo>
                    <a:pt x="5445" y="2482"/>
                  </a:lnTo>
                  <a:lnTo>
                    <a:pt x="5443" y="2495"/>
                  </a:lnTo>
                  <a:lnTo>
                    <a:pt x="5439" y="2506"/>
                  </a:lnTo>
                  <a:lnTo>
                    <a:pt x="5435" y="2516"/>
                  </a:lnTo>
                  <a:lnTo>
                    <a:pt x="5429" y="2524"/>
                  </a:lnTo>
                  <a:lnTo>
                    <a:pt x="5422" y="2532"/>
                  </a:lnTo>
                  <a:lnTo>
                    <a:pt x="5414" y="2538"/>
                  </a:lnTo>
                  <a:lnTo>
                    <a:pt x="5405" y="2544"/>
                  </a:lnTo>
                  <a:lnTo>
                    <a:pt x="5395" y="2547"/>
                  </a:lnTo>
                  <a:lnTo>
                    <a:pt x="5382" y="2551"/>
                  </a:lnTo>
                  <a:lnTo>
                    <a:pt x="5370" y="2553"/>
                  </a:lnTo>
                  <a:lnTo>
                    <a:pt x="5355" y="2555"/>
                  </a:lnTo>
                  <a:lnTo>
                    <a:pt x="5339" y="2556"/>
                  </a:lnTo>
                  <a:lnTo>
                    <a:pt x="5322" y="2557"/>
                  </a:lnTo>
                  <a:lnTo>
                    <a:pt x="5304" y="2557"/>
                  </a:lnTo>
                  <a:lnTo>
                    <a:pt x="5209" y="2557"/>
                  </a:lnTo>
                  <a:lnTo>
                    <a:pt x="5209" y="2152"/>
                  </a:lnTo>
                  <a:lnTo>
                    <a:pt x="5304" y="2152"/>
                  </a:lnTo>
                  <a:lnTo>
                    <a:pt x="5304" y="2309"/>
                  </a:lnTo>
                  <a:lnTo>
                    <a:pt x="5320" y="2309"/>
                  </a:lnTo>
                  <a:lnTo>
                    <a:pt x="5337" y="2309"/>
                  </a:lnTo>
                  <a:lnTo>
                    <a:pt x="5352" y="2310"/>
                  </a:lnTo>
                  <a:lnTo>
                    <a:pt x="5366" y="2311"/>
                  </a:lnTo>
                  <a:lnTo>
                    <a:pt x="5379" y="2313"/>
                  </a:lnTo>
                  <a:lnTo>
                    <a:pt x="5390" y="2317"/>
                  </a:lnTo>
                  <a:lnTo>
                    <a:pt x="5401" y="2320"/>
                  </a:lnTo>
                  <a:lnTo>
                    <a:pt x="5410" y="2324"/>
                  </a:lnTo>
                  <a:lnTo>
                    <a:pt x="5419" y="2329"/>
                  </a:lnTo>
                  <a:lnTo>
                    <a:pt x="5426" y="2336"/>
                  </a:lnTo>
                  <a:lnTo>
                    <a:pt x="5431" y="2343"/>
                  </a:lnTo>
                  <a:lnTo>
                    <a:pt x="5436" y="2352"/>
                  </a:lnTo>
                  <a:lnTo>
                    <a:pt x="5441" y="2361"/>
                  </a:lnTo>
                  <a:lnTo>
                    <a:pt x="5444" y="2372"/>
                  </a:lnTo>
                  <a:lnTo>
                    <a:pt x="5445" y="2384"/>
                  </a:lnTo>
                  <a:lnTo>
                    <a:pt x="5447" y="2397"/>
                  </a:lnTo>
                  <a:lnTo>
                    <a:pt x="5447" y="2411"/>
                  </a:lnTo>
                  <a:lnTo>
                    <a:pt x="5447" y="2453"/>
                  </a:lnTo>
                  <a:close/>
                  <a:moveTo>
                    <a:pt x="6551" y="0"/>
                  </a:moveTo>
                  <a:lnTo>
                    <a:pt x="6641" y="0"/>
                  </a:lnTo>
                  <a:lnTo>
                    <a:pt x="6641" y="3472"/>
                  </a:lnTo>
                  <a:lnTo>
                    <a:pt x="6551" y="3472"/>
                  </a:lnTo>
                  <a:lnTo>
                    <a:pt x="6551" y="0"/>
                  </a:lnTo>
                  <a:close/>
                  <a:moveTo>
                    <a:pt x="4655" y="2229"/>
                  </a:moveTo>
                  <a:lnTo>
                    <a:pt x="4655" y="2229"/>
                  </a:lnTo>
                  <a:lnTo>
                    <a:pt x="4583" y="2229"/>
                  </a:lnTo>
                  <a:lnTo>
                    <a:pt x="4583" y="2557"/>
                  </a:lnTo>
                  <a:lnTo>
                    <a:pt x="4493" y="2557"/>
                  </a:lnTo>
                  <a:lnTo>
                    <a:pt x="4493" y="2229"/>
                  </a:lnTo>
                  <a:lnTo>
                    <a:pt x="4417" y="2229"/>
                  </a:lnTo>
                  <a:lnTo>
                    <a:pt x="4417" y="2152"/>
                  </a:lnTo>
                  <a:lnTo>
                    <a:pt x="4655" y="2152"/>
                  </a:lnTo>
                  <a:lnTo>
                    <a:pt x="4655" y="2229"/>
                  </a:lnTo>
                  <a:close/>
                  <a:moveTo>
                    <a:pt x="3925" y="2413"/>
                  </a:moveTo>
                  <a:lnTo>
                    <a:pt x="3925" y="2413"/>
                  </a:lnTo>
                  <a:lnTo>
                    <a:pt x="3925" y="2428"/>
                  </a:lnTo>
                  <a:lnTo>
                    <a:pt x="3923" y="2440"/>
                  </a:lnTo>
                  <a:lnTo>
                    <a:pt x="3921" y="2453"/>
                  </a:lnTo>
                  <a:lnTo>
                    <a:pt x="3917" y="2464"/>
                  </a:lnTo>
                  <a:lnTo>
                    <a:pt x="3913" y="2473"/>
                  </a:lnTo>
                  <a:lnTo>
                    <a:pt x="3907" y="2482"/>
                  </a:lnTo>
                  <a:lnTo>
                    <a:pt x="3900" y="2489"/>
                  </a:lnTo>
                  <a:lnTo>
                    <a:pt x="3892" y="2496"/>
                  </a:lnTo>
                  <a:lnTo>
                    <a:pt x="3884" y="2502"/>
                  </a:lnTo>
                  <a:lnTo>
                    <a:pt x="3874" y="2506"/>
                  </a:lnTo>
                  <a:lnTo>
                    <a:pt x="3863" y="2510"/>
                  </a:lnTo>
                  <a:lnTo>
                    <a:pt x="3850" y="2512"/>
                  </a:lnTo>
                  <a:lnTo>
                    <a:pt x="3838" y="2514"/>
                  </a:lnTo>
                  <a:lnTo>
                    <a:pt x="3823" y="2516"/>
                  </a:lnTo>
                  <a:lnTo>
                    <a:pt x="3807" y="2516"/>
                  </a:lnTo>
                  <a:lnTo>
                    <a:pt x="3790" y="2518"/>
                  </a:lnTo>
                  <a:lnTo>
                    <a:pt x="3790" y="2557"/>
                  </a:lnTo>
                  <a:lnTo>
                    <a:pt x="3697" y="2557"/>
                  </a:lnTo>
                  <a:lnTo>
                    <a:pt x="3697" y="2518"/>
                  </a:lnTo>
                  <a:lnTo>
                    <a:pt x="3680" y="2516"/>
                  </a:lnTo>
                  <a:lnTo>
                    <a:pt x="3665" y="2516"/>
                  </a:lnTo>
                  <a:lnTo>
                    <a:pt x="3651" y="2514"/>
                  </a:lnTo>
                  <a:lnTo>
                    <a:pt x="3637" y="2512"/>
                  </a:lnTo>
                  <a:lnTo>
                    <a:pt x="3624" y="2510"/>
                  </a:lnTo>
                  <a:lnTo>
                    <a:pt x="3613" y="2506"/>
                  </a:lnTo>
                  <a:lnTo>
                    <a:pt x="3604" y="2502"/>
                  </a:lnTo>
                  <a:lnTo>
                    <a:pt x="3595" y="2496"/>
                  </a:lnTo>
                  <a:lnTo>
                    <a:pt x="3587" y="2489"/>
                  </a:lnTo>
                  <a:lnTo>
                    <a:pt x="3580" y="2482"/>
                  </a:lnTo>
                  <a:lnTo>
                    <a:pt x="3574" y="2473"/>
                  </a:lnTo>
                  <a:lnTo>
                    <a:pt x="3570" y="2464"/>
                  </a:lnTo>
                  <a:lnTo>
                    <a:pt x="3566" y="2453"/>
                  </a:lnTo>
                  <a:lnTo>
                    <a:pt x="3564" y="2440"/>
                  </a:lnTo>
                  <a:lnTo>
                    <a:pt x="3562" y="2428"/>
                  </a:lnTo>
                  <a:lnTo>
                    <a:pt x="3562" y="2413"/>
                  </a:lnTo>
                  <a:lnTo>
                    <a:pt x="3562" y="2286"/>
                  </a:lnTo>
                  <a:lnTo>
                    <a:pt x="3562" y="2271"/>
                  </a:lnTo>
                  <a:lnTo>
                    <a:pt x="3564" y="2259"/>
                  </a:lnTo>
                  <a:lnTo>
                    <a:pt x="3566" y="2246"/>
                  </a:lnTo>
                  <a:lnTo>
                    <a:pt x="3570" y="2235"/>
                  </a:lnTo>
                  <a:lnTo>
                    <a:pt x="3574" y="2226"/>
                  </a:lnTo>
                  <a:lnTo>
                    <a:pt x="3580" y="2218"/>
                  </a:lnTo>
                  <a:lnTo>
                    <a:pt x="3586" y="2210"/>
                  </a:lnTo>
                  <a:lnTo>
                    <a:pt x="3594" y="2204"/>
                  </a:lnTo>
                  <a:lnTo>
                    <a:pt x="3603" y="2198"/>
                  </a:lnTo>
                  <a:lnTo>
                    <a:pt x="3613" y="2194"/>
                  </a:lnTo>
                  <a:lnTo>
                    <a:pt x="3623" y="2190"/>
                  </a:lnTo>
                  <a:lnTo>
                    <a:pt x="3636" y="2187"/>
                  </a:lnTo>
                  <a:lnTo>
                    <a:pt x="3649" y="2185"/>
                  </a:lnTo>
                  <a:lnTo>
                    <a:pt x="3664" y="2184"/>
                  </a:lnTo>
                  <a:lnTo>
                    <a:pt x="3680" y="2182"/>
                  </a:lnTo>
                  <a:lnTo>
                    <a:pt x="3697" y="2182"/>
                  </a:lnTo>
                  <a:lnTo>
                    <a:pt x="3697" y="2152"/>
                  </a:lnTo>
                  <a:lnTo>
                    <a:pt x="3790" y="2152"/>
                  </a:lnTo>
                  <a:lnTo>
                    <a:pt x="3790" y="2182"/>
                  </a:lnTo>
                  <a:lnTo>
                    <a:pt x="3807" y="2182"/>
                  </a:lnTo>
                  <a:lnTo>
                    <a:pt x="3823" y="2184"/>
                  </a:lnTo>
                  <a:lnTo>
                    <a:pt x="3838" y="2185"/>
                  </a:lnTo>
                  <a:lnTo>
                    <a:pt x="3851" y="2187"/>
                  </a:lnTo>
                  <a:lnTo>
                    <a:pt x="3864" y="2190"/>
                  </a:lnTo>
                  <a:lnTo>
                    <a:pt x="3874" y="2194"/>
                  </a:lnTo>
                  <a:lnTo>
                    <a:pt x="3884" y="2198"/>
                  </a:lnTo>
                  <a:lnTo>
                    <a:pt x="3893" y="2204"/>
                  </a:lnTo>
                  <a:lnTo>
                    <a:pt x="3901" y="2210"/>
                  </a:lnTo>
                  <a:lnTo>
                    <a:pt x="3907" y="2218"/>
                  </a:lnTo>
                  <a:lnTo>
                    <a:pt x="3913" y="2226"/>
                  </a:lnTo>
                  <a:lnTo>
                    <a:pt x="3917" y="2235"/>
                  </a:lnTo>
                  <a:lnTo>
                    <a:pt x="3921" y="2246"/>
                  </a:lnTo>
                  <a:lnTo>
                    <a:pt x="3923" y="2259"/>
                  </a:lnTo>
                  <a:lnTo>
                    <a:pt x="3925" y="2271"/>
                  </a:lnTo>
                  <a:lnTo>
                    <a:pt x="3925" y="2286"/>
                  </a:lnTo>
                  <a:lnTo>
                    <a:pt x="3925" y="2413"/>
                  </a:lnTo>
                  <a:close/>
                  <a:moveTo>
                    <a:pt x="3065" y="2229"/>
                  </a:moveTo>
                  <a:lnTo>
                    <a:pt x="3065" y="2229"/>
                  </a:lnTo>
                  <a:lnTo>
                    <a:pt x="2936" y="2229"/>
                  </a:lnTo>
                  <a:lnTo>
                    <a:pt x="2936" y="2309"/>
                  </a:lnTo>
                  <a:lnTo>
                    <a:pt x="3052" y="2309"/>
                  </a:lnTo>
                  <a:lnTo>
                    <a:pt x="3052" y="2385"/>
                  </a:lnTo>
                  <a:lnTo>
                    <a:pt x="2936" y="2385"/>
                  </a:lnTo>
                  <a:lnTo>
                    <a:pt x="2936" y="2480"/>
                  </a:lnTo>
                  <a:lnTo>
                    <a:pt x="3065" y="2480"/>
                  </a:lnTo>
                  <a:lnTo>
                    <a:pt x="3065" y="2557"/>
                  </a:lnTo>
                  <a:lnTo>
                    <a:pt x="2838" y="2557"/>
                  </a:lnTo>
                  <a:lnTo>
                    <a:pt x="2838" y="2152"/>
                  </a:lnTo>
                  <a:lnTo>
                    <a:pt x="3065" y="2152"/>
                  </a:lnTo>
                  <a:lnTo>
                    <a:pt x="3065" y="2229"/>
                  </a:lnTo>
                  <a:close/>
                  <a:moveTo>
                    <a:pt x="2278" y="2557"/>
                  </a:moveTo>
                  <a:lnTo>
                    <a:pt x="2278" y="2557"/>
                  </a:lnTo>
                  <a:lnTo>
                    <a:pt x="2183" y="2557"/>
                  </a:lnTo>
                  <a:lnTo>
                    <a:pt x="2183" y="2380"/>
                  </a:lnTo>
                  <a:lnTo>
                    <a:pt x="2134" y="2380"/>
                  </a:lnTo>
                  <a:lnTo>
                    <a:pt x="2134" y="2557"/>
                  </a:lnTo>
                  <a:lnTo>
                    <a:pt x="2040" y="2557"/>
                  </a:lnTo>
                  <a:lnTo>
                    <a:pt x="2040" y="2152"/>
                  </a:lnTo>
                  <a:lnTo>
                    <a:pt x="2134" y="2152"/>
                  </a:lnTo>
                  <a:lnTo>
                    <a:pt x="2134" y="2309"/>
                  </a:lnTo>
                  <a:lnTo>
                    <a:pt x="2183" y="2309"/>
                  </a:lnTo>
                  <a:lnTo>
                    <a:pt x="2183" y="2152"/>
                  </a:lnTo>
                  <a:lnTo>
                    <a:pt x="2278" y="2152"/>
                  </a:lnTo>
                  <a:lnTo>
                    <a:pt x="2278" y="2557"/>
                  </a:lnTo>
                  <a:close/>
                  <a:moveTo>
                    <a:pt x="5615" y="2052"/>
                  </a:moveTo>
                  <a:lnTo>
                    <a:pt x="5615" y="2052"/>
                  </a:lnTo>
                  <a:lnTo>
                    <a:pt x="1872" y="2052"/>
                  </a:lnTo>
                  <a:lnTo>
                    <a:pt x="1872" y="2673"/>
                  </a:lnTo>
                  <a:lnTo>
                    <a:pt x="5615" y="2673"/>
                  </a:lnTo>
                  <a:lnTo>
                    <a:pt x="5615" y="2052"/>
                  </a:lnTo>
                  <a:close/>
                  <a:moveTo>
                    <a:pt x="3654" y="2284"/>
                  </a:moveTo>
                  <a:lnTo>
                    <a:pt x="3654" y="2284"/>
                  </a:lnTo>
                  <a:lnTo>
                    <a:pt x="3654" y="2413"/>
                  </a:lnTo>
                  <a:lnTo>
                    <a:pt x="3654" y="2421"/>
                  </a:lnTo>
                  <a:lnTo>
                    <a:pt x="3655" y="2428"/>
                  </a:lnTo>
                  <a:lnTo>
                    <a:pt x="3657" y="2434"/>
                  </a:lnTo>
                  <a:lnTo>
                    <a:pt x="3660" y="2437"/>
                  </a:lnTo>
                  <a:lnTo>
                    <a:pt x="3664" y="2439"/>
                  </a:lnTo>
                  <a:lnTo>
                    <a:pt x="3669" y="2441"/>
                  </a:lnTo>
                  <a:lnTo>
                    <a:pt x="3676" y="2443"/>
                  </a:lnTo>
                  <a:lnTo>
                    <a:pt x="3683" y="2443"/>
                  </a:lnTo>
                  <a:lnTo>
                    <a:pt x="3697" y="2443"/>
                  </a:lnTo>
                  <a:lnTo>
                    <a:pt x="3697" y="2254"/>
                  </a:lnTo>
                  <a:lnTo>
                    <a:pt x="3683" y="2254"/>
                  </a:lnTo>
                  <a:lnTo>
                    <a:pt x="3676" y="2254"/>
                  </a:lnTo>
                  <a:lnTo>
                    <a:pt x="3669" y="2255"/>
                  </a:lnTo>
                  <a:lnTo>
                    <a:pt x="3664" y="2257"/>
                  </a:lnTo>
                  <a:lnTo>
                    <a:pt x="3660" y="2260"/>
                  </a:lnTo>
                  <a:lnTo>
                    <a:pt x="3657" y="2264"/>
                  </a:lnTo>
                  <a:lnTo>
                    <a:pt x="3655" y="2269"/>
                  </a:lnTo>
                  <a:lnTo>
                    <a:pt x="3654" y="2276"/>
                  </a:lnTo>
                  <a:lnTo>
                    <a:pt x="3654" y="2284"/>
                  </a:lnTo>
                  <a:close/>
                  <a:moveTo>
                    <a:pt x="5324" y="2380"/>
                  </a:moveTo>
                  <a:lnTo>
                    <a:pt x="5324" y="2380"/>
                  </a:lnTo>
                  <a:lnTo>
                    <a:pt x="5304" y="2380"/>
                  </a:lnTo>
                  <a:lnTo>
                    <a:pt x="5304" y="2486"/>
                  </a:lnTo>
                  <a:lnTo>
                    <a:pt x="5324" y="2486"/>
                  </a:lnTo>
                  <a:lnTo>
                    <a:pt x="5332" y="2486"/>
                  </a:lnTo>
                  <a:lnTo>
                    <a:pt x="5338" y="2485"/>
                  </a:lnTo>
                  <a:lnTo>
                    <a:pt x="5343" y="2482"/>
                  </a:lnTo>
                  <a:lnTo>
                    <a:pt x="5347" y="2480"/>
                  </a:lnTo>
                  <a:lnTo>
                    <a:pt x="5349" y="2477"/>
                  </a:lnTo>
                  <a:lnTo>
                    <a:pt x="5352" y="2471"/>
                  </a:lnTo>
                  <a:lnTo>
                    <a:pt x="5352" y="2465"/>
                  </a:lnTo>
                  <a:lnTo>
                    <a:pt x="5353" y="2457"/>
                  </a:lnTo>
                  <a:lnTo>
                    <a:pt x="5353" y="2409"/>
                  </a:lnTo>
                  <a:lnTo>
                    <a:pt x="5352" y="2401"/>
                  </a:lnTo>
                  <a:lnTo>
                    <a:pt x="5352" y="2394"/>
                  </a:lnTo>
                  <a:lnTo>
                    <a:pt x="5349" y="2389"/>
                  </a:lnTo>
                  <a:lnTo>
                    <a:pt x="5347" y="2386"/>
                  </a:lnTo>
                  <a:lnTo>
                    <a:pt x="5343" y="2382"/>
                  </a:lnTo>
                  <a:lnTo>
                    <a:pt x="5338" y="2381"/>
                  </a:lnTo>
                  <a:lnTo>
                    <a:pt x="5332" y="2380"/>
                  </a:lnTo>
                  <a:lnTo>
                    <a:pt x="5324" y="2380"/>
                  </a:lnTo>
                  <a:close/>
                  <a:moveTo>
                    <a:pt x="3805" y="2254"/>
                  </a:moveTo>
                  <a:lnTo>
                    <a:pt x="3805" y="2254"/>
                  </a:lnTo>
                  <a:lnTo>
                    <a:pt x="3790" y="2254"/>
                  </a:lnTo>
                  <a:lnTo>
                    <a:pt x="3790" y="2443"/>
                  </a:lnTo>
                  <a:lnTo>
                    <a:pt x="3805" y="2443"/>
                  </a:lnTo>
                  <a:lnTo>
                    <a:pt x="3811" y="2443"/>
                  </a:lnTo>
                  <a:lnTo>
                    <a:pt x="3818" y="2441"/>
                  </a:lnTo>
                  <a:lnTo>
                    <a:pt x="3823" y="2439"/>
                  </a:lnTo>
                  <a:lnTo>
                    <a:pt x="3827" y="2437"/>
                  </a:lnTo>
                  <a:lnTo>
                    <a:pt x="3830" y="2432"/>
                  </a:lnTo>
                  <a:lnTo>
                    <a:pt x="3832" y="2428"/>
                  </a:lnTo>
                  <a:lnTo>
                    <a:pt x="3833" y="2421"/>
                  </a:lnTo>
                  <a:lnTo>
                    <a:pt x="3833" y="2413"/>
                  </a:lnTo>
                  <a:lnTo>
                    <a:pt x="3833" y="2282"/>
                  </a:lnTo>
                  <a:lnTo>
                    <a:pt x="3833" y="2274"/>
                  </a:lnTo>
                  <a:lnTo>
                    <a:pt x="3832" y="2268"/>
                  </a:lnTo>
                  <a:lnTo>
                    <a:pt x="3830" y="2263"/>
                  </a:lnTo>
                  <a:lnTo>
                    <a:pt x="3827" y="2260"/>
                  </a:lnTo>
                  <a:lnTo>
                    <a:pt x="3823" y="2256"/>
                  </a:lnTo>
                  <a:lnTo>
                    <a:pt x="3818" y="2255"/>
                  </a:lnTo>
                  <a:lnTo>
                    <a:pt x="3811" y="2254"/>
                  </a:lnTo>
                  <a:lnTo>
                    <a:pt x="3805" y="2254"/>
                  </a:lnTo>
                  <a:close/>
                  <a:moveTo>
                    <a:pt x="1286" y="1627"/>
                  </a:moveTo>
                  <a:lnTo>
                    <a:pt x="1286" y="1627"/>
                  </a:lnTo>
                  <a:lnTo>
                    <a:pt x="1275" y="1604"/>
                  </a:lnTo>
                  <a:lnTo>
                    <a:pt x="1263" y="1578"/>
                  </a:lnTo>
                  <a:lnTo>
                    <a:pt x="1251" y="1547"/>
                  </a:lnTo>
                  <a:lnTo>
                    <a:pt x="1239" y="1512"/>
                  </a:lnTo>
                  <a:lnTo>
                    <a:pt x="1234" y="1492"/>
                  </a:lnTo>
                  <a:lnTo>
                    <a:pt x="1229" y="1471"/>
                  </a:lnTo>
                  <a:lnTo>
                    <a:pt x="1224" y="1450"/>
                  </a:lnTo>
                  <a:lnTo>
                    <a:pt x="1220" y="1426"/>
                  </a:lnTo>
                  <a:lnTo>
                    <a:pt x="1216" y="1402"/>
                  </a:lnTo>
                  <a:lnTo>
                    <a:pt x="1214" y="1376"/>
                  </a:lnTo>
                  <a:lnTo>
                    <a:pt x="1212" y="1349"/>
                  </a:lnTo>
                  <a:lnTo>
                    <a:pt x="1211" y="1320"/>
                  </a:lnTo>
                  <a:lnTo>
                    <a:pt x="1211" y="1293"/>
                  </a:lnTo>
                  <a:lnTo>
                    <a:pt x="1213" y="1266"/>
                  </a:lnTo>
                  <a:lnTo>
                    <a:pt x="1215" y="1239"/>
                  </a:lnTo>
                  <a:lnTo>
                    <a:pt x="1220" y="1213"/>
                  </a:lnTo>
                  <a:lnTo>
                    <a:pt x="1224" y="1190"/>
                  </a:lnTo>
                  <a:lnTo>
                    <a:pt x="1229" y="1166"/>
                  </a:lnTo>
                  <a:lnTo>
                    <a:pt x="1236" y="1144"/>
                  </a:lnTo>
                  <a:lnTo>
                    <a:pt x="1242" y="1122"/>
                  </a:lnTo>
                  <a:lnTo>
                    <a:pt x="1255" y="1085"/>
                  </a:lnTo>
                  <a:lnTo>
                    <a:pt x="1268" y="1054"/>
                  </a:lnTo>
                  <a:lnTo>
                    <a:pt x="1278" y="1032"/>
                  </a:lnTo>
                  <a:lnTo>
                    <a:pt x="1287" y="1017"/>
                  </a:lnTo>
                  <a:lnTo>
                    <a:pt x="1294" y="1030"/>
                  </a:lnTo>
                  <a:lnTo>
                    <a:pt x="1304" y="1052"/>
                  </a:lnTo>
                  <a:lnTo>
                    <a:pt x="1316" y="1080"/>
                  </a:lnTo>
                  <a:lnTo>
                    <a:pt x="1327" y="1115"/>
                  </a:lnTo>
                  <a:lnTo>
                    <a:pt x="1333" y="1135"/>
                  </a:lnTo>
                  <a:lnTo>
                    <a:pt x="1338" y="1155"/>
                  </a:lnTo>
                  <a:lnTo>
                    <a:pt x="1343" y="1178"/>
                  </a:lnTo>
                  <a:lnTo>
                    <a:pt x="1349" y="1201"/>
                  </a:lnTo>
                  <a:lnTo>
                    <a:pt x="1352" y="1226"/>
                  </a:lnTo>
                  <a:lnTo>
                    <a:pt x="1356" y="1252"/>
                  </a:lnTo>
                  <a:lnTo>
                    <a:pt x="1359" y="1279"/>
                  </a:lnTo>
                  <a:lnTo>
                    <a:pt x="1360" y="1307"/>
                  </a:lnTo>
                  <a:lnTo>
                    <a:pt x="1360" y="1335"/>
                  </a:lnTo>
                  <a:lnTo>
                    <a:pt x="1359" y="1361"/>
                  </a:lnTo>
                  <a:lnTo>
                    <a:pt x="1358" y="1387"/>
                  </a:lnTo>
                  <a:lnTo>
                    <a:pt x="1354" y="1412"/>
                  </a:lnTo>
                  <a:lnTo>
                    <a:pt x="1351" y="1436"/>
                  </a:lnTo>
                  <a:lnTo>
                    <a:pt x="1346" y="1460"/>
                  </a:lnTo>
                  <a:lnTo>
                    <a:pt x="1341" y="1481"/>
                  </a:lnTo>
                  <a:lnTo>
                    <a:pt x="1335" y="1503"/>
                  </a:lnTo>
                  <a:lnTo>
                    <a:pt x="1324" y="1542"/>
                  </a:lnTo>
                  <a:lnTo>
                    <a:pt x="1310" y="1575"/>
                  </a:lnTo>
                  <a:lnTo>
                    <a:pt x="1297" y="1603"/>
                  </a:lnTo>
                  <a:lnTo>
                    <a:pt x="1286" y="1627"/>
                  </a:lnTo>
                  <a:close/>
                  <a:moveTo>
                    <a:pt x="1505" y="482"/>
                  </a:moveTo>
                  <a:lnTo>
                    <a:pt x="1505" y="482"/>
                  </a:lnTo>
                  <a:lnTo>
                    <a:pt x="1493" y="436"/>
                  </a:lnTo>
                  <a:lnTo>
                    <a:pt x="1480" y="392"/>
                  </a:lnTo>
                  <a:lnTo>
                    <a:pt x="1465" y="349"/>
                  </a:lnTo>
                  <a:lnTo>
                    <a:pt x="1449" y="307"/>
                  </a:lnTo>
                  <a:lnTo>
                    <a:pt x="1433" y="267"/>
                  </a:lnTo>
                  <a:lnTo>
                    <a:pt x="1416" y="229"/>
                  </a:lnTo>
                  <a:lnTo>
                    <a:pt x="1399" y="194"/>
                  </a:lnTo>
                  <a:lnTo>
                    <a:pt x="1382" y="160"/>
                  </a:lnTo>
                  <a:lnTo>
                    <a:pt x="1349" y="101"/>
                  </a:lnTo>
                  <a:lnTo>
                    <a:pt x="1320" y="55"/>
                  </a:lnTo>
                  <a:lnTo>
                    <a:pt x="1299" y="20"/>
                  </a:lnTo>
                  <a:lnTo>
                    <a:pt x="1286" y="0"/>
                  </a:lnTo>
                  <a:lnTo>
                    <a:pt x="1271" y="23"/>
                  </a:lnTo>
                  <a:lnTo>
                    <a:pt x="1250" y="58"/>
                  </a:lnTo>
                  <a:lnTo>
                    <a:pt x="1223" y="101"/>
                  </a:lnTo>
                  <a:lnTo>
                    <a:pt x="1195" y="155"/>
                  </a:lnTo>
                  <a:lnTo>
                    <a:pt x="1180" y="183"/>
                  </a:lnTo>
                  <a:lnTo>
                    <a:pt x="1165" y="214"/>
                  </a:lnTo>
                  <a:lnTo>
                    <a:pt x="1150" y="245"/>
                  </a:lnTo>
                  <a:lnTo>
                    <a:pt x="1135" y="278"/>
                  </a:lnTo>
                  <a:lnTo>
                    <a:pt x="1121" y="314"/>
                  </a:lnTo>
                  <a:lnTo>
                    <a:pt x="1108" y="349"/>
                  </a:lnTo>
                  <a:lnTo>
                    <a:pt x="1096" y="385"/>
                  </a:lnTo>
                  <a:lnTo>
                    <a:pt x="1084" y="421"/>
                  </a:lnTo>
                  <a:lnTo>
                    <a:pt x="1073" y="462"/>
                  </a:lnTo>
                  <a:lnTo>
                    <a:pt x="1063" y="503"/>
                  </a:lnTo>
                  <a:lnTo>
                    <a:pt x="1053" y="543"/>
                  </a:lnTo>
                  <a:lnTo>
                    <a:pt x="1047" y="583"/>
                  </a:lnTo>
                  <a:lnTo>
                    <a:pt x="1040" y="621"/>
                  </a:lnTo>
                  <a:lnTo>
                    <a:pt x="1034" y="660"/>
                  </a:lnTo>
                  <a:lnTo>
                    <a:pt x="1029" y="698"/>
                  </a:lnTo>
                  <a:lnTo>
                    <a:pt x="1026" y="736"/>
                  </a:lnTo>
                  <a:lnTo>
                    <a:pt x="1024" y="774"/>
                  </a:lnTo>
                  <a:lnTo>
                    <a:pt x="1023" y="810"/>
                  </a:lnTo>
                  <a:lnTo>
                    <a:pt x="1023" y="848"/>
                  </a:lnTo>
                  <a:lnTo>
                    <a:pt x="1023" y="884"/>
                  </a:lnTo>
                  <a:lnTo>
                    <a:pt x="1024" y="920"/>
                  </a:lnTo>
                  <a:lnTo>
                    <a:pt x="1026" y="957"/>
                  </a:lnTo>
                  <a:lnTo>
                    <a:pt x="1029" y="993"/>
                  </a:lnTo>
                  <a:lnTo>
                    <a:pt x="1033" y="1029"/>
                  </a:lnTo>
                  <a:lnTo>
                    <a:pt x="1037" y="1066"/>
                  </a:lnTo>
                  <a:lnTo>
                    <a:pt x="1043" y="1101"/>
                  </a:lnTo>
                  <a:lnTo>
                    <a:pt x="1051" y="1137"/>
                  </a:lnTo>
                  <a:lnTo>
                    <a:pt x="1058" y="1171"/>
                  </a:lnTo>
                  <a:lnTo>
                    <a:pt x="1067" y="1205"/>
                  </a:lnTo>
                  <a:lnTo>
                    <a:pt x="1075" y="1237"/>
                  </a:lnTo>
                  <a:lnTo>
                    <a:pt x="1084" y="1268"/>
                  </a:lnTo>
                  <a:lnTo>
                    <a:pt x="1093" y="1296"/>
                  </a:lnTo>
                  <a:lnTo>
                    <a:pt x="1109" y="1346"/>
                  </a:lnTo>
                  <a:lnTo>
                    <a:pt x="1123" y="1385"/>
                  </a:lnTo>
                  <a:lnTo>
                    <a:pt x="1133" y="1410"/>
                  </a:lnTo>
                  <a:lnTo>
                    <a:pt x="1137" y="1419"/>
                  </a:lnTo>
                  <a:lnTo>
                    <a:pt x="1154" y="1458"/>
                  </a:lnTo>
                  <a:lnTo>
                    <a:pt x="1172" y="1497"/>
                  </a:lnTo>
                  <a:lnTo>
                    <a:pt x="1191" y="1535"/>
                  </a:lnTo>
                  <a:lnTo>
                    <a:pt x="1212" y="1572"/>
                  </a:lnTo>
                  <a:lnTo>
                    <a:pt x="1232" y="1606"/>
                  </a:lnTo>
                  <a:lnTo>
                    <a:pt x="1252" y="1638"/>
                  </a:lnTo>
                  <a:lnTo>
                    <a:pt x="1270" y="1666"/>
                  </a:lnTo>
                  <a:lnTo>
                    <a:pt x="1287" y="1688"/>
                  </a:lnTo>
                  <a:lnTo>
                    <a:pt x="1300" y="1671"/>
                  </a:lnTo>
                  <a:lnTo>
                    <a:pt x="1313" y="1651"/>
                  </a:lnTo>
                  <a:lnTo>
                    <a:pt x="1329" y="1627"/>
                  </a:lnTo>
                  <a:lnTo>
                    <a:pt x="1345" y="1600"/>
                  </a:lnTo>
                  <a:lnTo>
                    <a:pt x="1364" y="1569"/>
                  </a:lnTo>
                  <a:lnTo>
                    <a:pt x="1381" y="1535"/>
                  </a:lnTo>
                  <a:lnTo>
                    <a:pt x="1400" y="1499"/>
                  </a:lnTo>
                  <a:lnTo>
                    <a:pt x="1418" y="1460"/>
                  </a:lnTo>
                  <a:lnTo>
                    <a:pt x="1436" y="1417"/>
                  </a:lnTo>
                  <a:lnTo>
                    <a:pt x="1454" y="1372"/>
                  </a:lnTo>
                  <a:lnTo>
                    <a:pt x="1471" y="1325"/>
                  </a:lnTo>
                  <a:lnTo>
                    <a:pt x="1487" y="1276"/>
                  </a:lnTo>
                  <a:lnTo>
                    <a:pt x="1501" y="1224"/>
                  </a:lnTo>
                  <a:lnTo>
                    <a:pt x="1515" y="1170"/>
                  </a:lnTo>
                  <a:lnTo>
                    <a:pt x="1521" y="1142"/>
                  </a:lnTo>
                  <a:lnTo>
                    <a:pt x="1527" y="1113"/>
                  </a:lnTo>
                  <a:lnTo>
                    <a:pt x="1531" y="1085"/>
                  </a:lnTo>
                  <a:lnTo>
                    <a:pt x="1536" y="1057"/>
                  </a:lnTo>
                  <a:lnTo>
                    <a:pt x="1540" y="1024"/>
                  </a:lnTo>
                  <a:lnTo>
                    <a:pt x="1544" y="992"/>
                  </a:lnTo>
                  <a:lnTo>
                    <a:pt x="1547" y="960"/>
                  </a:lnTo>
                  <a:lnTo>
                    <a:pt x="1549" y="928"/>
                  </a:lnTo>
                  <a:lnTo>
                    <a:pt x="1550" y="896"/>
                  </a:lnTo>
                  <a:lnTo>
                    <a:pt x="1552" y="863"/>
                  </a:lnTo>
                  <a:lnTo>
                    <a:pt x="1552" y="830"/>
                  </a:lnTo>
                  <a:lnTo>
                    <a:pt x="1550" y="796"/>
                  </a:lnTo>
                  <a:lnTo>
                    <a:pt x="1548" y="762"/>
                  </a:lnTo>
                  <a:lnTo>
                    <a:pt x="1546" y="727"/>
                  </a:lnTo>
                  <a:lnTo>
                    <a:pt x="1541" y="690"/>
                  </a:lnTo>
                  <a:lnTo>
                    <a:pt x="1537" y="652"/>
                  </a:lnTo>
                  <a:lnTo>
                    <a:pt x="1531" y="612"/>
                  </a:lnTo>
                  <a:lnTo>
                    <a:pt x="1523" y="571"/>
                  </a:lnTo>
                  <a:lnTo>
                    <a:pt x="1515" y="527"/>
                  </a:lnTo>
                  <a:lnTo>
                    <a:pt x="1505" y="482"/>
                  </a:lnTo>
                  <a:close/>
                  <a:moveTo>
                    <a:pt x="4050" y="1321"/>
                  </a:moveTo>
                  <a:lnTo>
                    <a:pt x="4050" y="1321"/>
                  </a:lnTo>
                  <a:lnTo>
                    <a:pt x="4050" y="924"/>
                  </a:lnTo>
                  <a:lnTo>
                    <a:pt x="4096" y="924"/>
                  </a:lnTo>
                  <a:lnTo>
                    <a:pt x="4103" y="925"/>
                  </a:lnTo>
                  <a:lnTo>
                    <a:pt x="4110" y="927"/>
                  </a:lnTo>
                  <a:lnTo>
                    <a:pt x="4116" y="930"/>
                  </a:lnTo>
                  <a:lnTo>
                    <a:pt x="4120" y="936"/>
                  </a:lnTo>
                  <a:lnTo>
                    <a:pt x="4125" y="943"/>
                  </a:lnTo>
                  <a:lnTo>
                    <a:pt x="4127" y="951"/>
                  </a:lnTo>
                  <a:lnTo>
                    <a:pt x="4129" y="960"/>
                  </a:lnTo>
                  <a:lnTo>
                    <a:pt x="4131" y="970"/>
                  </a:lnTo>
                  <a:lnTo>
                    <a:pt x="4131" y="1275"/>
                  </a:lnTo>
                  <a:lnTo>
                    <a:pt x="4129" y="1285"/>
                  </a:lnTo>
                  <a:lnTo>
                    <a:pt x="4127" y="1294"/>
                  </a:lnTo>
                  <a:lnTo>
                    <a:pt x="4125" y="1302"/>
                  </a:lnTo>
                  <a:lnTo>
                    <a:pt x="4120" y="1309"/>
                  </a:lnTo>
                  <a:lnTo>
                    <a:pt x="4116" y="1313"/>
                  </a:lnTo>
                  <a:lnTo>
                    <a:pt x="4110" y="1318"/>
                  </a:lnTo>
                  <a:lnTo>
                    <a:pt x="4103" y="1320"/>
                  </a:lnTo>
                  <a:lnTo>
                    <a:pt x="4096" y="1321"/>
                  </a:lnTo>
                  <a:lnTo>
                    <a:pt x="4050" y="1321"/>
                  </a:lnTo>
                  <a:close/>
                  <a:moveTo>
                    <a:pt x="2440" y="1391"/>
                  </a:moveTo>
                  <a:lnTo>
                    <a:pt x="2440" y="1391"/>
                  </a:lnTo>
                  <a:lnTo>
                    <a:pt x="2472" y="924"/>
                  </a:lnTo>
                  <a:lnTo>
                    <a:pt x="2481" y="924"/>
                  </a:lnTo>
                  <a:lnTo>
                    <a:pt x="2512" y="1391"/>
                  </a:lnTo>
                  <a:lnTo>
                    <a:pt x="2440" y="1391"/>
                  </a:lnTo>
                  <a:close/>
                  <a:moveTo>
                    <a:pt x="4674" y="808"/>
                  </a:moveTo>
                  <a:lnTo>
                    <a:pt x="4674" y="808"/>
                  </a:lnTo>
                  <a:lnTo>
                    <a:pt x="4525" y="808"/>
                  </a:lnTo>
                  <a:lnTo>
                    <a:pt x="4514" y="808"/>
                  </a:lnTo>
                  <a:lnTo>
                    <a:pt x="4503" y="809"/>
                  </a:lnTo>
                  <a:lnTo>
                    <a:pt x="4493" y="810"/>
                  </a:lnTo>
                  <a:lnTo>
                    <a:pt x="4483" y="812"/>
                  </a:lnTo>
                  <a:lnTo>
                    <a:pt x="4475" y="815"/>
                  </a:lnTo>
                  <a:lnTo>
                    <a:pt x="4466" y="818"/>
                  </a:lnTo>
                  <a:lnTo>
                    <a:pt x="4459" y="821"/>
                  </a:lnTo>
                  <a:lnTo>
                    <a:pt x="4451" y="825"/>
                  </a:lnTo>
                  <a:lnTo>
                    <a:pt x="4444" y="829"/>
                  </a:lnTo>
                  <a:lnTo>
                    <a:pt x="4438" y="834"/>
                  </a:lnTo>
                  <a:lnTo>
                    <a:pt x="4433" y="838"/>
                  </a:lnTo>
                  <a:lnTo>
                    <a:pt x="4428" y="843"/>
                  </a:lnTo>
                  <a:lnTo>
                    <a:pt x="4419" y="854"/>
                  </a:lnTo>
                  <a:lnTo>
                    <a:pt x="4411" y="867"/>
                  </a:lnTo>
                  <a:lnTo>
                    <a:pt x="4405" y="879"/>
                  </a:lnTo>
                  <a:lnTo>
                    <a:pt x="4401" y="893"/>
                  </a:lnTo>
                  <a:lnTo>
                    <a:pt x="4397" y="907"/>
                  </a:lnTo>
                  <a:lnTo>
                    <a:pt x="4395" y="921"/>
                  </a:lnTo>
                  <a:lnTo>
                    <a:pt x="4393" y="949"/>
                  </a:lnTo>
                  <a:lnTo>
                    <a:pt x="4392" y="975"/>
                  </a:lnTo>
                  <a:lnTo>
                    <a:pt x="4392" y="1574"/>
                  </a:lnTo>
                  <a:lnTo>
                    <a:pt x="4393" y="1600"/>
                  </a:lnTo>
                  <a:lnTo>
                    <a:pt x="4395" y="1628"/>
                  </a:lnTo>
                  <a:lnTo>
                    <a:pt x="4397" y="1642"/>
                  </a:lnTo>
                  <a:lnTo>
                    <a:pt x="4401" y="1655"/>
                  </a:lnTo>
                  <a:lnTo>
                    <a:pt x="4405" y="1669"/>
                  </a:lnTo>
                  <a:lnTo>
                    <a:pt x="4411" y="1681"/>
                  </a:lnTo>
                  <a:lnTo>
                    <a:pt x="4419" y="1694"/>
                  </a:lnTo>
                  <a:lnTo>
                    <a:pt x="4428" y="1705"/>
                  </a:lnTo>
                  <a:lnTo>
                    <a:pt x="4433" y="1710"/>
                  </a:lnTo>
                  <a:lnTo>
                    <a:pt x="4438" y="1716"/>
                  </a:lnTo>
                  <a:lnTo>
                    <a:pt x="4444" y="1720"/>
                  </a:lnTo>
                  <a:lnTo>
                    <a:pt x="4451" y="1723"/>
                  </a:lnTo>
                  <a:lnTo>
                    <a:pt x="4459" y="1728"/>
                  </a:lnTo>
                  <a:lnTo>
                    <a:pt x="4466" y="1731"/>
                  </a:lnTo>
                  <a:lnTo>
                    <a:pt x="4475" y="1734"/>
                  </a:lnTo>
                  <a:lnTo>
                    <a:pt x="4483" y="1736"/>
                  </a:lnTo>
                  <a:lnTo>
                    <a:pt x="4493" y="1738"/>
                  </a:lnTo>
                  <a:lnTo>
                    <a:pt x="4503" y="1739"/>
                  </a:lnTo>
                  <a:lnTo>
                    <a:pt x="4514" y="1741"/>
                  </a:lnTo>
                  <a:lnTo>
                    <a:pt x="4525" y="1741"/>
                  </a:lnTo>
                  <a:lnTo>
                    <a:pt x="4674" y="1741"/>
                  </a:lnTo>
                  <a:lnTo>
                    <a:pt x="4686" y="1741"/>
                  </a:lnTo>
                  <a:lnTo>
                    <a:pt x="4696" y="1739"/>
                  </a:lnTo>
                  <a:lnTo>
                    <a:pt x="4706" y="1738"/>
                  </a:lnTo>
                  <a:lnTo>
                    <a:pt x="4715" y="1736"/>
                  </a:lnTo>
                  <a:lnTo>
                    <a:pt x="4725" y="1734"/>
                  </a:lnTo>
                  <a:lnTo>
                    <a:pt x="4734" y="1731"/>
                  </a:lnTo>
                  <a:lnTo>
                    <a:pt x="4741" y="1728"/>
                  </a:lnTo>
                  <a:lnTo>
                    <a:pt x="4749" y="1723"/>
                  </a:lnTo>
                  <a:lnTo>
                    <a:pt x="4754" y="1720"/>
                  </a:lnTo>
                  <a:lnTo>
                    <a:pt x="4761" y="1716"/>
                  </a:lnTo>
                  <a:lnTo>
                    <a:pt x="4767" y="1710"/>
                  </a:lnTo>
                  <a:lnTo>
                    <a:pt x="4771" y="1705"/>
                  </a:lnTo>
                  <a:lnTo>
                    <a:pt x="4780" y="1694"/>
                  </a:lnTo>
                  <a:lnTo>
                    <a:pt x="4788" y="1681"/>
                  </a:lnTo>
                  <a:lnTo>
                    <a:pt x="4794" y="1669"/>
                  </a:lnTo>
                  <a:lnTo>
                    <a:pt x="4799" y="1655"/>
                  </a:lnTo>
                  <a:lnTo>
                    <a:pt x="4802" y="1642"/>
                  </a:lnTo>
                  <a:lnTo>
                    <a:pt x="4804" y="1628"/>
                  </a:lnTo>
                  <a:lnTo>
                    <a:pt x="4807" y="1600"/>
                  </a:lnTo>
                  <a:lnTo>
                    <a:pt x="4808" y="1574"/>
                  </a:lnTo>
                  <a:lnTo>
                    <a:pt x="4808" y="975"/>
                  </a:lnTo>
                  <a:lnTo>
                    <a:pt x="4807" y="949"/>
                  </a:lnTo>
                  <a:lnTo>
                    <a:pt x="4804" y="921"/>
                  </a:lnTo>
                  <a:lnTo>
                    <a:pt x="4802" y="907"/>
                  </a:lnTo>
                  <a:lnTo>
                    <a:pt x="4799" y="893"/>
                  </a:lnTo>
                  <a:lnTo>
                    <a:pt x="4794" y="879"/>
                  </a:lnTo>
                  <a:lnTo>
                    <a:pt x="4788" y="867"/>
                  </a:lnTo>
                  <a:lnTo>
                    <a:pt x="4780" y="854"/>
                  </a:lnTo>
                  <a:lnTo>
                    <a:pt x="4771" y="843"/>
                  </a:lnTo>
                  <a:lnTo>
                    <a:pt x="4767" y="838"/>
                  </a:lnTo>
                  <a:lnTo>
                    <a:pt x="4761" y="834"/>
                  </a:lnTo>
                  <a:lnTo>
                    <a:pt x="4754" y="829"/>
                  </a:lnTo>
                  <a:lnTo>
                    <a:pt x="4749" y="825"/>
                  </a:lnTo>
                  <a:lnTo>
                    <a:pt x="4741" y="821"/>
                  </a:lnTo>
                  <a:lnTo>
                    <a:pt x="4734" y="818"/>
                  </a:lnTo>
                  <a:lnTo>
                    <a:pt x="4725" y="815"/>
                  </a:lnTo>
                  <a:lnTo>
                    <a:pt x="4715" y="812"/>
                  </a:lnTo>
                  <a:lnTo>
                    <a:pt x="4706" y="810"/>
                  </a:lnTo>
                  <a:lnTo>
                    <a:pt x="4696" y="809"/>
                  </a:lnTo>
                  <a:lnTo>
                    <a:pt x="4686" y="808"/>
                  </a:lnTo>
                  <a:lnTo>
                    <a:pt x="4674" y="808"/>
                  </a:lnTo>
                  <a:close/>
                </a:path>
              </a:pathLst>
            </a:custGeom>
            <a:solidFill>
              <a:srgbClr val="0073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4" name="Freeform 7"/>
            <p:cNvSpPr>
              <a:spLocks noEditPoints="1"/>
            </p:cNvSpPr>
            <p:nvPr/>
          </p:nvSpPr>
          <p:spPr bwMode="auto">
            <a:xfrm>
              <a:off x="6783958" y="1655566"/>
              <a:ext cx="585788" cy="549275"/>
            </a:xfrm>
            <a:custGeom>
              <a:avLst/>
              <a:gdLst>
                <a:gd name="T0" fmla="*/ 1029 w 2583"/>
                <a:gd name="T1" fmla="*/ 52 h 2418"/>
                <a:gd name="T2" fmla="*/ 712 w 2583"/>
                <a:gd name="T3" fmla="*/ 166 h 2418"/>
                <a:gd name="T4" fmla="*/ 434 w 2583"/>
                <a:gd name="T5" fmla="*/ 333 h 2418"/>
                <a:gd name="T6" fmla="*/ 210 w 2583"/>
                <a:gd name="T7" fmla="*/ 544 h 2418"/>
                <a:gd name="T8" fmla="*/ 61 w 2583"/>
                <a:gd name="T9" fmla="*/ 792 h 2418"/>
                <a:gd name="T10" fmla="*/ 0 w 2583"/>
                <a:gd name="T11" fmla="*/ 1069 h 2418"/>
                <a:gd name="T12" fmla="*/ 40 w 2583"/>
                <a:gd name="T13" fmla="*/ 1362 h 2418"/>
                <a:gd name="T14" fmla="*/ 135 w 2583"/>
                <a:gd name="T15" fmla="*/ 1643 h 2418"/>
                <a:gd name="T16" fmla="*/ 269 w 2583"/>
                <a:gd name="T17" fmla="*/ 1895 h 2418"/>
                <a:gd name="T18" fmla="*/ 447 w 2583"/>
                <a:gd name="T19" fmla="*/ 2109 h 2418"/>
                <a:gd name="T20" fmla="*/ 667 w 2583"/>
                <a:gd name="T21" fmla="*/ 2274 h 2418"/>
                <a:gd name="T22" fmla="*/ 931 w 2583"/>
                <a:gd name="T23" fmla="*/ 2379 h 2418"/>
                <a:gd name="T24" fmla="*/ 1240 w 2583"/>
                <a:gd name="T25" fmla="*/ 2418 h 2418"/>
                <a:gd name="T26" fmla="*/ 1557 w 2583"/>
                <a:gd name="T27" fmla="*/ 2366 h 2418"/>
                <a:gd name="T28" fmla="*/ 1843 w 2583"/>
                <a:gd name="T29" fmla="*/ 2229 h 2418"/>
                <a:gd name="T30" fmla="*/ 2092 w 2583"/>
                <a:gd name="T31" fmla="*/ 2030 h 2418"/>
                <a:gd name="T32" fmla="*/ 2298 w 2583"/>
                <a:gd name="T33" fmla="*/ 1797 h 2418"/>
                <a:gd name="T34" fmla="*/ 2452 w 2583"/>
                <a:gd name="T35" fmla="*/ 1554 h 2418"/>
                <a:gd name="T36" fmla="*/ 2547 w 2583"/>
                <a:gd name="T37" fmla="*/ 1326 h 2418"/>
                <a:gd name="T38" fmla="*/ 2583 w 2583"/>
                <a:gd name="T39" fmla="*/ 1066 h 2418"/>
                <a:gd name="T40" fmla="*/ 2521 w 2583"/>
                <a:gd name="T41" fmla="*/ 774 h 2418"/>
                <a:gd name="T42" fmla="*/ 2371 w 2583"/>
                <a:gd name="T43" fmla="*/ 505 h 2418"/>
                <a:gd name="T44" fmla="*/ 2147 w 2583"/>
                <a:gd name="T45" fmla="*/ 276 h 2418"/>
                <a:gd name="T46" fmla="*/ 1871 w 2583"/>
                <a:gd name="T47" fmla="*/ 106 h 2418"/>
                <a:gd name="T48" fmla="*/ 1560 w 2583"/>
                <a:gd name="T49" fmla="*/ 13 h 2418"/>
                <a:gd name="T50" fmla="*/ 2295 w 2583"/>
                <a:gd name="T51" fmla="*/ 1161 h 2418"/>
                <a:gd name="T52" fmla="*/ 2251 w 2583"/>
                <a:gd name="T53" fmla="*/ 1308 h 2418"/>
                <a:gd name="T54" fmla="*/ 2147 w 2583"/>
                <a:gd name="T55" fmla="*/ 1521 h 2418"/>
                <a:gd name="T56" fmla="*/ 1996 w 2583"/>
                <a:gd name="T57" fmla="*/ 1744 h 2418"/>
                <a:gd name="T58" fmla="*/ 1805 w 2583"/>
                <a:gd name="T59" fmla="*/ 1951 h 2418"/>
                <a:gd name="T60" fmla="*/ 1584 w 2583"/>
                <a:gd name="T61" fmla="*/ 2117 h 2418"/>
                <a:gd name="T62" fmla="*/ 1340 w 2583"/>
                <a:gd name="T63" fmla="*/ 2217 h 2418"/>
                <a:gd name="T64" fmla="*/ 1087 w 2583"/>
                <a:gd name="T65" fmla="*/ 2229 h 2418"/>
                <a:gd name="T66" fmla="*/ 867 w 2583"/>
                <a:gd name="T67" fmla="*/ 2168 h 2418"/>
                <a:gd name="T68" fmla="*/ 687 w 2583"/>
                <a:gd name="T69" fmla="*/ 2050 h 2418"/>
                <a:gd name="T70" fmla="*/ 542 w 2583"/>
                <a:gd name="T71" fmla="*/ 1883 h 2418"/>
                <a:gd name="T72" fmla="*/ 429 w 2583"/>
                <a:gd name="T73" fmla="*/ 1678 h 2418"/>
                <a:gd name="T74" fmla="*/ 347 w 2583"/>
                <a:gd name="T75" fmla="*/ 1446 h 2418"/>
                <a:gd name="T76" fmla="*/ 290 w 2583"/>
                <a:gd name="T77" fmla="*/ 1198 h 2418"/>
                <a:gd name="T78" fmla="*/ 285 w 2583"/>
                <a:gd name="T79" fmla="*/ 954 h 2418"/>
                <a:gd name="T80" fmla="*/ 354 w 2583"/>
                <a:gd name="T81" fmla="*/ 735 h 2418"/>
                <a:gd name="T82" fmla="*/ 486 w 2583"/>
                <a:gd name="T83" fmla="*/ 545 h 2418"/>
                <a:gd name="T84" fmla="*/ 668 w 2583"/>
                <a:gd name="T85" fmla="*/ 391 h 2418"/>
                <a:gd name="T86" fmla="*/ 891 w 2583"/>
                <a:gd name="T87" fmla="*/ 275 h 2418"/>
                <a:gd name="T88" fmla="*/ 1140 w 2583"/>
                <a:gd name="T89" fmla="*/ 202 h 2418"/>
                <a:gd name="T90" fmla="*/ 1402 w 2583"/>
                <a:gd name="T91" fmla="*/ 185 h 2418"/>
                <a:gd name="T92" fmla="*/ 1656 w 2583"/>
                <a:gd name="T93" fmla="*/ 239 h 2418"/>
                <a:gd name="T94" fmla="*/ 1890 w 2583"/>
                <a:gd name="T95" fmla="*/ 355 h 2418"/>
                <a:gd name="T96" fmla="*/ 2087 w 2583"/>
                <a:gd name="T97" fmla="*/ 522 h 2418"/>
                <a:gd name="T98" fmla="*/ 2229 w 2583"/>
                <a:gd name="T99" fmla="*/ 727 h 2418"/>
                <a:gd name="T100" fmla="*/ 2301 w 2583"/>
                <a:gd name="T101" fmla="*/ 961 h 2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83" h="2418">
                  <a:moveTo>
                    <a:pt x="1299" y="5"/>
                  </a:moveTo>
                  <a:lnTo>
                    <a:pt x="1231" y="13"/>
                  </a:lnTo>
                  <a:lnTo>
                    <a:pt x="1163" y="24"/>
                  </a:lnTo>
                  <a:lnTo>
                    <a:pt x="1096" y="37"/>
                  </a:lnTo>
                  <a:lnTo>
                    <a:pt x="1029" y="52"/>
                  </a:lnTo>
                  <a:lnTo>
                    <a:pt x="964" y="71"/>
                  </a:lnTo>
                  <a:lnTo>
                    <a:pt x="899" y="91"/>
                  </a:lnTo>
                  <a:lnTo>
                    <a:pt x="835" y="114"/>
                  </a:lnTo>
                  <a:lnTo>
                    <a:pt x="773" y="139"/>
                  </a:lnTo>
                  <a:lnTo>
                    <a:pt x="712" y="166"/>
                  </a:lnTo>
                  <a:lnTo>
                    <a:pt x="652" y="196"/>
                  </a:lnTo>
                  <a:lnTo>
                    <a:pt x="595" y="227"/>
                  </a:lnTo>
                  <a:lnTo>
                    <a:pt x="540" y="260"/>
                  </a:lnTo>
                  <a:lnTo>
                    <a:pt x="485" y="296"/>
                  </a:lnTo>
                  <a:lnTo>
                    <a:pt x="434" y="333"/>
                  </a:lnTo>
                  <a:lnTo>
                    <a:pt x="385" y="372"/>
                  </a:lnTo>
                  <a:lnTo>
                    <a:pt x="337" y="413"/>
                  </a:lnTo>
                  <a:lnTo>
                    <a:pt x="292" y="456"/>
                  </a:lnTo>
                  <a:lnTo>
                    <a:pt x="250" y="499"/>
                  </a:lnTo>
                  <a:lnTo>
                    <a:pt x="210" y="544"/>
                  </a:lnTo>
                  <a:lnTo>
                    <a:pt x="174" y="591"/>
                  </a:lnTo>
                  <a:lnTo>
                    <a:pt x="141" y="640"/>
                  </a:lnTo>
                  <a:lnTo>
                    <a:pt x="111" y="690"/>
                  </a:lnTo>
                  <a:lnTo>
                    <a:pt x="84" y="741"/>
                  </a:lnTo>
                  <a:lnTo>
                    <a:pt x="61" y="792"/>
                  </a:lnTo>
                  <a:lnTo>
                    <a:pt x="40" y="845"/>
                  </a:lnTo>
                  <a:lnTo>
                    <a:pt x="24" y="900"/>
                  </a:lnTo>
                  <a:lnTo>
                    <a:pt x="12" y="956"/>
                  </a:lnTo>
                  <a:lnTo>
                    <a:pt x="4" y="1011"/>
                  </a:lnTo>
                  <a:lnTo>
                    <a:pt x="0" y="1069"/>
                  </a:lnTo>
                  <a:lnTo>
                    <a:pt x="0" y="1127"/>
                  </a:lnTo>
                  <a:lnTo>
                    <a:pt x="5" y="1185"/>
                  </a:lnTo>
                  <a:lnTo>
                    <a:pt x="14" y="1245"/>
                  </a:lnTo>
                  <a:lnTo>
                    <a:pt x="27" y="1304"/>
                  </a:lnTo>
                  <a:lnTo>
                    <a:pt x="40" y="1362"/>
                  </a:lnTo>
                  <a:lnTo>
                    <a:pt x="56" y="1420"/>
                  </a:lnTo>
                  <a:lnTo>
                    <a:pt x="73" y="1477"/>
                  </a:lnTo>
                  <a:lnTo>
                    <a:pt x="92" y="1534"/>
                  </a:lnTo>
                  <a:lnTo>
                    <a:pt x="112" y="1588"/>
                  </a:lnTo>
                  <a:lnTo>
                    <a:pt x="135" y="1643"/>
                  </a:lnTo>
                  <a:lnTo>
                    <a:pt x="159" y="1696"/>
                  </a:lnTo>
                  <a:lnTo>
                    <a:pt x="184" y="1747"/>
                  </a:lnTo>
                  <a:lnTo>
                    <a:pt x="211" y="1799"/>
                  </a:lnTo>
                  <a:lnTo>
                    <a:pt x="240" y="1847"/>
                  </a:lnTo>
                  <a:lnTo>
                    <a:pt x="269" y="1895"/>
                  </a:lnTo>
                  <a:lnTo>
                    <a:pt x="302" y="1941"/>
                  </a:lnTo>
                  <a:lnTo>
                    <a:pt x="336" y="1985"/>
                  </a:lnTo>
                  <a:lnTo>
                    <a:pt x="371" y="2028"/>
                  </a:lnTo>
                  <a:lnTo>
                    <a:pt x="408" y="2069"/>
                  </a:lnTo>
                  <a:lnTo>
                    <a:pt x="447" y="2109"/>
                  </a:lnTo>
                  <a:lnTo>
                    <a:pt x="488" y="2145"/>
                  </a:lnTo>
                  <a:lnTo>
                    <a:pt x="530" y="2180"/>
                  </a:lnTo>
                  <a:lnTo>
                    <a:pt x="574" y="2213"/>
                  </a:lnTo>
                  <a:lnTo>
                    <a:pt x="619" y="2245"/>
                  </a:lnTo>
                  <a:lnTo>
                    <a:pt x="667" y="2274"/>
                  </a:lnTo>
                  <a:lnTo>
                    <a:pt x="716" y="2300"/>
                  </a:lnTo>
                  <a:lnTo>
                    <a:pt x="768" y="2323"/>
                  </a:lnTo>
                  <a:lnTo>
                    <a:pt x="820" y="2345"/>
                  </a:lnTo>
                  <a:lnTo>
                    <a:pt x="875" y="2363"/>
                  </a:lnTo>
                  <a:lnTo>
                    <a:pt x="931" y="2379"/>
                  </a:lnTo>
                  <a:lnTo>
                    <a:pt x="989" y="2393"/>
                  </a:lnTo>
                  <a:lnTo>
                    <a:pt x="1049" y="2403"/>
                  </a:lnTo>
                  <a:lnTo>
                    <a:pt x="1111" y="2411"/>
                  </a:lnTo>
                  <a:lnTo>
                    <a:pt x="1174" y="2416"/>
                  </a:lnTo>
                  <a:lnTo>
                    <a:pt x="1240" y="2418"/>
                  </a:lnTo>
                  <a:lnTo>
                    <a:pt x="1305" y="2416"/>
                  </a:lnTo>
                  <a:lnTo>
                    <a:pt x="1370" y="2409"/>
                  </a:lnTo>
                  <a:lnTo>
                    <a:pt x="1433" y="2398"/>
                  </a:lnTo>
                  <a:lnTo>
                    <a:pt x="1495" y="2384"/>
                  </a:lnTo>
                  <a:lnTo>
                    <a:pt x="1557" y="2366"/>
                  </a:lnTo>
                  <a:lnTo>
                    <a:pt x="1617" y="2345"/>
                  </a:lnTo>
                  <a:lnTo>
                    <a:pt x="1675" y="2320"/>
                  </a:lnTo>
                  <a:lnTo>
                    <a:pt x="1732" y="2293"/>
                  </a:lnTo>
                  <a:lnTo>
                    <a:pt x="1789" y="2262"/>
                  </a:lnTo>
                  <a:lnTo>
                    <a:pt x="1843" y="2229"/>
                  </a:lnTo>
                  <a:lnTo>
                    <a:pt x="1896" y="2193"/>
                  </a:lnTo>
                  <a:lnTo>
                    <a:pt x="1948" y="2155"/>
                  </a:lnTo>
                  <a:lnTo>
                    <a:pt x="1998" y="2116"/>
                  </a:lnTo>
                  <a:lnTo>
                    <a:pt x="2046" y="2074"/>
                  </a:lnTo>
                  <a:lnTo>
                    <a:pt x="2092" y="2030"/>
                  </a:lnTo>
                  <a:lnTo>
                    <a:pt x="2137" y="1986"/>
                  </a:lnTo>
                  <a:lnTo>
                    <a:pt x="2180" y="1941"/>
                  </a:lnTo>
                  <a:lnTo>
                    <a:pt x="2221" y="1894"/>
                  </a:lnTo>
                  <a:lnTo>
                    <a:pt x="2260" y="1846"/>
                  </a:lnTo>
                  <a:lnTo>
                    <a:pt x="2298" y="1797"/>
                  </a:lnTo>
                  <a:lnTo>
                    <a:pt x="2332" y="1749"/>
                  </a:lnTo>
                  <a:lnTo>
                    <a:pt x="2365" y="1700"/>
                  </a:lnTo>
                  <a:lnTo>
                    <a:pt x="2396" y="1651"/>
                  </a:lnTo>
                  <a:lnTo>
                    <a:pt x="2424" y="1603"/>
                  </a:lnTo>
                  <a:lnTo>
                    <a:pt x="2452" y="1554"/>
                  </a:lnTo>
                  <a:lnTo>
                    <a:pt x="2476" y="1507"/>
                  </a:lnTo>
                  <a:lnTo>
                    <a:pt x="2497" y="1460"/>
                  </a:lnTo>
                  <a:lnTo>
                    <a:pt x="2517" y="1415"/>
                  </a:lnTo>
                  <a:lnTo>
                    <a:pt x="2533" y="1369"/>
                  </a:lnTo>
                  <a:lnTo>
                    <a:pt x="2547" y="1326"/>
                  </a:lnTo>
                  <a:lnTo>
                    <a:pt x="2559" y="1285"/>
                  </a:lnTo>
                  <a:lnTo>
                    <a:pt x="2568" y="1245"/>
                  </a:lnTo>
                  <a:lnTo>
                    <a:pt x="2577" y="1185"/>
                  </a:lnTo>
                  <a:lnTo>
                    <a:pt x="2583" y="1126"/>
                  </a:lnTo>
                  <a:lnTo>
                    <a:pt x="2583" y="1066"/>
                  </a:lnTo>
                  <a:lnTo>
                    <a:pt x="2578" y="1007"/>
                  </a:lnTo>
                  <a:lnTo>
                    <a:pt x="2570" y="948"/>
                  </a:lnTo>
                  <a:lnTo>
                    <a:pt x="2558" y="890"/>
                  </a:lnTo>
                  <a:lnTo>
                    <a:pt x="2542" y="832"/>
                  </a:lnTo>
                  <a:lnTo>
                    <a:pt x="2521" y="774"/>
                  </a:lnTo>
                  <a:lnTo>
                    <a:pt x="2498" y="718"/>
                  </a:lnTo>
                  <a:lnTo>
                    <a:pt x="2471" y="663"/>
                  </a:lnTo>
                  <a:lnTo>
                    <a:pt x="2440" y="609"/>
                  </a:lnTo>
                  <a:lnTo>
                    <a:pt x="2407" y="556"/>
                  </a:lnTo>
                  <a:lnTo>
                    <a:pt x="2371" y="505"/>
                  </a:lnTo>
                  <a:lnTo>
                    <a:pt x="2331" y="456"/>
                  </a:lnTo>
                  <a:lnTo>
                    <a:pt x="2289" y="407"/>
                  </a:lnTo>
                  <a:lnTo>
                    <a:pt x="2244" y="361"/>
                  </a:lnTo>
                  <a:lnTo>
                    <a:pt x="2196" y="318"/>
                  </a:lnTo>
                  <a:lnTo>
                    <a:pt x="2147" y="276"/>
                  </a:lnTo>
                  <a:lnTo>
                    <a:pt x="2096" y="236"/>
                  </a:lnTo>
                  <a:lnTo>
                    <a:pt x="2042" y="200"/>
                  </a:lnTo>
                  <a:lnTo>
                    <a:pt x="1986" y="166"/>
                  </a:lnTo>
                  <a:lnTo>
                    <a:pt x="1929" y="134"/>
                  </a:lnTo>
                  <a:lnTo>
                    <a:pt x="1871" y="106"/>
                  </a:lnTo>
                  <a:lnTo>
                    <a:pt x="1811" y="81"/>
                  </a:lnTo>
                  <a:lnTo>
                    <a:pt x="1749" y="58"/>
                  </a:lnTo>
                  <a:lnTo>
                    <a:pt x="1688" y="40"/>
                  </a:lnTo>
                  <a:lnTo>
                    <a:pt x="1624" y="24"/>
                  </a:lnTo>
                  <a:lnTo>
                    <a:pt x="1560" y="13"/>
                  </a:lnTo>
                  <a:lnTo>
                    <a:pt x="1495" y="5"/>
                  </a:lnTo>
                  <a:lnTo>
                    <a:pt x="1430" y="0"/>
                  </a:lnTo>
                  <a:lnTo>
                    <a:pt x="1365" y="0"/>
                  </a:lnTo>
                  <a:lnTo>
                    <a:pt x="1299" y="5"/>
                  </a:lnTo>
                  <a:close/>
                  <a:moveTo>
                    <a:pt x="2295" y="1161"/>
                  </a:moveTo>
                  <a:lnTo>
                    <a:pt x="2295" y="1161"/>
                  </a:lnTo>
                  <a:lnTo>
                    <a:pt x="2287" y="1195"/>
                  </a:lnTo>
                  <a:lnTo>
                    <a:pt x="2278" y="1231"/>
                  </a:lnTo>
                  <a:lnTo>
                    <a:pt x="2266" y="1269"/>
                  </a:lnTo>
                  <a:lnTo>
                    <a:pt x="2251" y="1308"/>
                  </a:lnTo>
                  <a:lnTo>
                    <a:pt x="2235" y="1349"/>
                  </a:lnTo>
                  <a:lnTo>
                    <a:pt x="2216" y="1391"/>
                  </a:lnTo>
                  <a:lnTo>
                    <a:pt x="2195" y="1434"/>
                  </a:lnTo>
                  <a:lnTo>
                    <a:pt x="2172" y="1477"/>
                  </a:lnTo>
                  <a:lnTo>
                    <a:pt x="2147" y="1521"/>
                  </a:lnTo>
                  <a:lnTo>
                    <a:pt x="2120" y="1567"/>
                  </a:lnTo>
                  <a:lnTo>
                    <a:pt x="2091" y="1611"/>
                  </a:lnTo>
                  <a:lnTo>
                    <a:pt x="2062" y="1655"/>
                  </a:lnTo>
                  <a:lnTo>
                    <a:pt x="2030" y="1700"/>
                  </a:lnTo>
                  <a:lnTo>
                    <a:pt x="1996" y="1744"/>
                  </a:lnTo>
                  <a:lnTo>
                    <a:pt x="1960" y="1787"/>
                  </a:lnTo>
                  <a:lnTo>
                    <a:pt x="1924" y="1830"/>
                  </a:lnTo>
                  <a:lnTo>
                    <a:pt x="1885" y="1871"/>
                  </a:lnTo>
                  <a:lnTo>
                    <a:pt x="1846" y="1912"/>
                  </a:lnTo>
                  <a:lnTo>
                    <a:pt x="1805" y="1951"/>
                  </a:lnTo>
                  <a:lnTo>
                    <a:pt x="1763" y="1988"/>
                  </a:lnTo>
                  <a:lnTo>
                    <a:pt x="1720" y="2024"/>
                  </a:lnTo>
                  <a:lnTo>
                    <a:pt x="1675" y="2057"/>
                  </a:lnTo>
                  <a:lnTo>
                    <a:pt x="1630" y="2088"/>
                  </a:lnTo>
                  <a:lnTo>
                    <a:pt x="1584" y="2117"/>
                  </a:lnTo>
                  <a:lnTo>
                    <a:pt x="1536" y="2143"/>
                  </a:lnTo>
                  <a:lnTo>
                    <a:pt x="1488" y="2166"/>
                  </a:lnTo>
                  <a:lnTo>
                    <a:pt x="1439" y="2186"/>
                  </a:lnTo>
                  <a:lnTo>
                    <a:pt x="1390" y="2203"/>
                  </a:lnTo>
                  <a:lnTo>
                    <a:pt x="1340" y="2217"/>
                  </a:lnTo>
                  <a:lnTo>
                    <a:pt x="1290" y="2227"/>
                  </a:lnTo>
                  <a:lnTo>
                    <a:pt x="1239" y="2233"/>
                  </a:lnTo>
                  <a:lnTo>
                    <a:pt x="1187" y="2235"/>
                  </a:lnTo>
                  <a:lnTo>
                    <a:pt x="1136" y="2234"/>
                  </a:lnTo>
                  <a:lnTo>
                    <a:pt x="1087" y="2229"/>
                  </a:lnTo>
                  <a:lnTo>
                    <a:pt x="1040" y="2222"/>
                  </a:lnTo>
                  <a:lnTo>
                    <a:pt x="995" y="2212"/>
                  </a:lnTo>
                  <a:lnTo>
                    <a:pt x="950" y="2200"/>
                  </a:lnTo>
                  <a:lnTo>
                    <a:pt x="908" y="2186"/>
                  </a:lnTo>
                  <a:lnTo>
                    <a:pt x="867" y="2168"/>
                  </a:lnTo>
                  <a:lnTo>
                    <a:pt x="828" y="2149"/>
                  </a:lnTo>
                  <a:lnTo>
                    <a:pt x="790" y="2127"/>
                  </a:lnTo>
                  <a:lnTo>
                    <a:pt x="754" y="2103"/>
                  </a:lnTo>
                  <a:lnTo>
                    <a:pt x="720" y="2077"/>
                  </a:lnTo>
                  <a:lnTo>
                    <a:pt x="687" y="2050"/>
                  </a:lnTo>
                  <a:lnTo>
                    <a:pt x="655" y="2020"/>
                  </a:lnTo>
                  <a:lnTo>
                    <a:pt x="624" y="1988"/>
                  </a:lnTo>
                  <a:lnTo>
                    <a:pt x="595" y="1954"/>
                  </a:lnTo>
                  <a:lnTo>
                    <a:pt x="568" y="1919"/>
                  </a:lnTo>
                  <a:lnTo>
                    <a:pt x="542" y="1883"/>
                  </a:lnTo>
                  <a:lnTo>
                    <a:pt x="517" y="1844"/>
                  </a:lnTo>
                  <a:lnTo>
                    <a:pt x="493" y="1805"/>
                  </a:lnTo>
                  <a:lnTo>
                    <a:pt x="470" y="1765"/>
                  </a:lnTo>
                  <a:lnTo>
                    <a:pt x="450" y="1721"/>
                  </a:lnTo>
                  <a:lnTo>
                    <a:pt x="429" y="1678"/>
                  </a:lnTo>
                  <a:lnTo>
                    <a:pt x="411" y="1634"/>
                  </a:lnTo>
                  <a:lnTo>
                    <a:pt x="393" y="1588"/>
                  </a:lnTo>
                  <a:lnTo>
                    <a:pt x="377" y="1542"/>
                  </a:lnTo>
                  <a:lnTo>
                    <a:pt x="361" y="1495"/>
                  </a:lnTo>
                  <a:lnTo>
                    <a:pt x="347" y="1446"/>
                  </a:lnTo>
                  <a:lnTo>
                    <a:pt x="333" y="1398"/>
                  </a:lnTo>
                  <a:lnTo>
                    <a:pt x="321" y="1349"/>
                  </a:lnTo>
                  <a:lnTo>
                    <a:pt x="309" y="1299"/>
                  </a:lnTo>
                  <a:lnTo>
                    <a:pt x="299" y="1249"/>
                  </a:lnTo>
                  <a:lnTo>
                    <a:pt x="290" y="1198"/>
                  </a:lnTo>
                  <a:lnTo>
                    <a:pt x="282" y="1148"/>
                  </a:lnTo>
                  <a:lnTo>
                    <a:pt x="279" y="1098"/>
                  </a:lnTo>
                  <a:lnTo>
                    <a:pt x="277" y="1049"/>
                  </a:lnTo>
                  <a:lnTo>
                    <a:pt x="280" y="1001"/>
                  </a:lnTo>
                  <a:lnTo>
                    <a:pt x="285" y="954"/>
                  </a:lnTo>
                  <a:lnTo>
                    <a:pt x="293" y="908"/>
                  </a:lnTo>
                  <a:lnTo>
                    <a:pt x="305" y="864"/>
                  </a:lnTo>
                  <a:lnTo>
                    <a:pt x="318" y="819"/>
                  </a:lnTo>
                  <a:lnTo>
                    <a:pt x="336" y="776"/>
                  </a:lnTo>
                  <a:lnTo>
                    <a:pt x="354" y="735"/>
                  </a:lnTo>
                  <a:lnTo>
                    <a:pt x="375" y="694"/>
                  </a:lnTo>
                  <a:lnTo>
                    <a:pt x="399" y="656"/>
                  </a:lnTo>
                  <a:lnTo>
                    <a:pt x="427" y="617"/>
                  </a:lnTo>
                  <a:lnTo>
                    <a:pt x="455" y="581"/>
                  </a:lnTo>
                  <a:lnTo>
                    <a:pt x="486" y="545"/>
                  </a:lnTo>
                  <a:lnTo>
                    <a:pt x="518" y="511"/>
                  </a:lnTo>
                  <a:lnTo>
                    <a:pt x="553" y="480"/>
                  </a:lnTo>
                  <a:lnTo>
                    <a:pt x="590" y="448"/>
                  </a:lnTo>
                  <a:lnTo>
                    <a:pt x="629" y="418"/>
                  </a:lnTo>
                  <a:lnTo>
                    <a:pt x="668" y="391"/>
                  </a:lnTo>
                  <a:lnTo>
                    <a:pt x="709" y="364"/>
                  </a:lnTo>
                  <a:lnTo>
                    <a:pt x="753" y="339"/>
                  </a:lnTo>
                  <a:lnTo>
                    <a:pt x="797" y="316"/>
                  </a:lnTo>
                  <a:lnTo>
                    <a:pt x="843" y="294"/>
                  </a:lnTo>
                  <a:lnTo>
                    <a:pt x="891" y="275"/>
                  </a:lnTo>
                  <a:lnTo>
                    <a:pt x="939" y="257"/>
                  </a:lnTo>
                  <a:lnTo>
                    <a:pt x="988" y="240"/>
                  </a:lnTo>
                  <a:lnTo>
                    <a:pt x="1038" y="226"/>
                  </a:lnTo>
                  <a:lnTo>
                    <a:pt x="1089" y="214"/>
                  </a:lnTo>
                  <a:lnTo>
                    <a:pt x="1140" y="202"/>
                  </a:lnTo>
                  <a:lnTo>
                    <a:pt x="1193" y="194"/>
                  </a:lnTo>
                  <a:lnTo>
                    <a:pt x="1246" y="188"/>
                  </a:lnTo>
                  <a:lnTo>
                    <a:pt x="1298" y="183"/>
                  </a:lnTo>
                  <a:lnTo>
                    <a:pt x="1349" y="183"/>
                  </a:lnTo>
                  <a:lnTo>
                    <a:pt x="1402" y="185"/>
                  </a:lnTo>
                  <a:lnTo>
                    <a:pt x="1453" y="190"/>
                  </a:lnTo>
                  <a:lnTo>
                    <a:pt x="1504" y="198"/>
                  </a:lnTo>
                  <a:lnTo>
                    <a:pt x="1555" y="209"/>
                  </a:lnTo>
                  <a:lnTo>
                    <a:pt x="1606" y="223"/>
                  </a:lnTo>
                  <a:lnTo>
                    <a:pt x="1656" y="239"/>
                  </a:lnTo>
                  <a:lnTo>
                    <a:pt x="1704" y="257"/>
                  </a:lnTo>
                  <a:lnTo>
                    <a:pt x="1753" y="278"/>
                  </a:lnTo>
                  <a:lnTo>
                    <a:pt x="1799" y="301"/>
                  </a:lnTo>
                  <a:lnTo>
                    <a:pt x="1845" y="327"/>
                  </a:lnTo>
                  <a:lnTo>
                    <a:pt x="1890" y="355"/>
                  </a:lnTo>
                  <a:lnTo>
                    <a:pt x="1933" y="384"/>
                  </a:lnTo>
                  <a:lnTo>
                    <a:pt x="1974" y="416"/>
                  </a:lnTo>
                  <a:lnTo>
                    <a:pt x="2013" y="449"/>
                  </a:lnTo>
                  <a:lnTo>
                    <a:pt x="2050" y="484"/>
                  </a:lnTo>
                  <a:lnTo>
                    <a:pt x="2087" y="522"/>
                  </a:lnTo>
                  <a:lnTo>
                    <a:pt x="2120" y="559"/>
                  </a:lnTo>
                  <a:lnTo>
                    <a:pt x="2151" y="600"/>
                  </a:lnTo>
                  <a:lnTo>
                    <a:pt x="2180" y="641"/>
                  </a:lnTo>
                  <a:lnTo>
                    <a:pt x="2205" y="683"/>
                  </a:lnTo>
                  <a:lnTo>
                    <a:pt x="2229" y="727"/>
                  </a:lnTo>
                  <a:lnTo>
                    <a:pt x="2250" y="773"/>
                  </a:lnTo>
                  <a:lnTo>
                    <a:pt x="2267" y="818"/>
                  </a:lnTo>
                  <a:lnTo>
                    <a:pt x="2282" y="865"/>
                  </a:lnTo>
                  <a:lnTo>
                    <a:pt x="2293" y="912"/>
                  </a:lnTo>
                  <a:lnTo>
                    <a:pt x="2301" y="961"/>
                  </a:lnTo>
                  <a:lnTo>
                    <a:pt x="2305" y="1010"/>
                  </a:lnTo>
                  <a:lnTo>
                    <a:pt x="2306" y="1060"/>
                  </a:lnTo>
                  <a:lnTo>
                    <a:pt x="2302" y="1110"/>
                  </a:lnTo>
                  <a:lnTo>
                    <a:pt x="2295" y="1161"/>
                  </a:lnTo>
                  <a:close/>
                </a:path>
              </a:pathLst>
            </a:custGeom>
            <a:solidFill>
              <a:srgbClr val="162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5" name="Freeform 8"/>
            <p:cNvSpPr>
              <a:spLocks noEditPoints="1"/>
            </p:cNvSpPr>
            <p:nvPr/>
          </p:nvSpPr>
          <p:spPr bwMode="auto">
            <a:xfrm>
              <a:off x="6845870" y="1696841"/>
              <a:ext cx="460375" cy="466725"/>
            </a:xfrm>
            <a:custGeom>
              <a:avLst/>
              <a:gdLst>
                <a:gd name="T0" fmla="*/ 761 w 2029"/>
                <a:gd name="T1" fmla="*/ 43 h 2052"/>
                <a:gd name="T2" fmla="*/ 520 w 2029"/>
                <a:gd name="T3" fmla="*/ 133 h 2052"/>
                <a:gd name="T4" fmla="*/ 313 w 2029"/>
                <a:gd name="T5" fmla="*/ 265 h 2052"/>
                <a:gd name="T6" fmla="*/ 150 w 2029"/>
                <a:gd name="T7" fmla="*/ 434 h 2052"/>
                <a:gd name="T8" fmla="*/ 41 w 2029"/>
                <a:gd name="T9" fmla="*/ 636 h 2052"/>
                <a:gd name="T10" fmla="*/ 0 w 2029"/>
                <a:gd name="T11" fmla="*/ 866 h 2052"/>
                <a:gd name="T12" fmla="*/ 32 w 2029"/>
                <a:gd name="T13" fmla="*/ 1116 h 2052"/>
                <a:gd name="T14" fmla="*/ 100 w 2029"/>
                <a:gd name="T15" fmla="*/ 1359 h 2052"/>
                <a:gd name="T16" fmla="*/ 193 w 2029"/>
                <a:gd name="T17" fmla="*/ 1582 h 2052"/>
                <a:gd name="T18" fmla="*/ 318 w 2029"/>
                <a:gd name="T19" fmla="*/ 1771 h 2052"/>
                <a:gd name="T20" fmla="*/ 477 w 2029"/>
                <a:gd name="T21" fmla="*/ 1920 h 2052"/>
                <a:gd name="T22" fmla="*/ 673 w 2029"/>
                <a:gd name="T23" fmla="*/ 2017 h 2052"/>
                <a:gd name="T24" fmla="*/ 910 w 2029"/>
                <a:gd name="T25" fmla="*/ 2052 h 2052"/>
                <a:gd name="T26" fmla="*/ 1162 w 2029"/>
                <a:gd name="T27" fmla="*/ 2003 h 2052"/>
                <a:gd name="T28" fmla="*/ 1398 w 2029"/>
                <a:gd name="T29" fmla="*/ 1874 h 2052"/>
                <a:gd name="T30" fmla="*/ 1608 w 2029"/>
                <a:gd name="T31" fmla="*/ 1688 h 2052"/>
                <a:gd name="T32" fmla="*/ 1785 w 2029"/>
                <a:gd name="T33" fmla="*/ 1472 h 2052"/>
                <a:gd name="T34" fmla="*/ 1918 w 2029"/>
                <a:gd name="T35" fmla="*/ 1251 h 2052"/>
                <a:gd name="T36" fmla="*/ 2001 w 2029"/>
                <a:gd name="T37" fmla="*/ 1048 h 2052"/>
                <a:gd name="T38" fmla="*/ 2028 w 2029"/>
                <a:gd name="T39" fmla="*/ 827 h 2052"/>
                <a:gd name="T40" fmla="*/ 1973 w 2029"/>
                <a:gd name="T41" fmla="*/ 590 h 2052"/>
                <a:gd name="T42" fmla="*/ 1843 w 2029"/>
                <a:gd name="T43" fmla="*/ 376 h 2052"/>
                <a:gd name="T44" fmla="*/ 1656 w 2029"/>
                <a:gd name="T45" fmla="*/ 201 h 2052"/>
                <a:gd name="T46" fmla="*/ 1427 w 2029"/>
                <a:gd name="T47" fmla="*/ 74 h 2052"/>
                <a:gd name="T48" fmla="*/ 1176 w 2029"/>
                <a:gd name="T49" fmla="*/ 7 h 2052"/>
                <a:gd name="T50" fmla="*/ 1678 w 2029"/>
                <a:gd name="T51" fmla="*/ 1321 h 2052"/>
                <a:gd name="T52" fmla="*/ 1603 w 2029"/>
                <a:gd name="T53" fmla="*/ 1419 h 2052"/>
                <a:gd name="T54" fmla="*/ 1469 w 2029"/>
                <a:gd name="T55" fmla="*/ 1546 h 2052"/>
                <a:gd name="T56" fmla="*/ 1301 w 2029"/>
                <a:gd name="T57" fmla="*/ 1666 h 2052"/>
                <a:gd name="T58" fmla="*/ 1112 w 2029"/>
                <a:gd name="T59" fmla="*/ 1762 h 2052"/>
                <a:gd name="T60" fmla="*/ 912 w 2029"/>
                <a:gd name="T61" fmla="*/ 1820 h 2052"/>
                <a:gd name="T62" fmla="*/ 716 w 2029"/>
                <a:gd name="T63" fmla="*/ 1824 h 2052"/>
                <a:gd name="T64" fmla="*/ 539 w 2029"/>
                <a:gd name="T65" fmla="*/ 1762 h 2052"/>
                <a:gd name="T66" fmla="*/ 405 w 2029"/>
                <a:gd name="T67" fmla="*/ 1655 h 2052"/>
                <a:gd name="T68" fmla="*/ 317 w 2029"/>
                <a:gd name="T69" fmla="*/ 1517 h 2052"/>
                <a:gd name="T70" fmla="*/ 267 w 2029"/>
                <a:gd name="T71" fmla="*/ 1351 h 2052"/>
                <a:gd name="T72" fmla="*/ 252 w 2029"/>
                <a:gd name="T73" fmla="*/ 1167 h 2052"/>
                <a:gd name="T74" fmla="*/ 265 w 2029"/>
                <a:gd name="T75" fmla="*/ 970 h 2052"/>
                <a:gd name="T76" fmla="*/ 301 w 2029"/>
                <a:gd name="T77" fmla="*/ 768 h 2052"/>
                <a:gd name="T78" fmla="*/ 375 w 2029"/>
                <a:gd name="T79" fmla="*/ 583 h 2052"/>
                <a:gd name="T80" fmla="*/ 497 w 2029"/>
                <a:gd name="T81" fmla="*/ 434 h 2052"/>
                <a:gd name="T82" fmla="*/ 656 w 2029"/>
                <a:gd name="T83" fmla="*/ 323 h 2052"/>
                <a:gd name="T84" fmla="*/ 840 w 2029"/>
                <a:gd name="T85" fmla="*/ 252 h 2052"/>
                <a:gd name="T86" fmla="*/ 1037 w 2029"/>
                <a:gd name="T87" fmla="*/ 223 h 2052"/>
                <a:gd name="T88" fmla="*/ 1237 w 2029"/>
                <a:gd name="T89" fmla="*/ 235 h 2052"/>
                <a:gd name="T90" fmla="*/ 1421 w 2029"/>
                <a:gd name="T91" fmla="*/ 295 h 2052"/>
                <a:gd name="T92" fmla="*/ 1571 w 2029"/>
                <a:gd name="T93" fmla="*/ 412 h 2052"/>
                <a:gd name="T94" fmla="*/ 1684 w 2029"/>
                <a:gd name="T95" fmla="*/ 574 h 2052"/>
                <a:gd name="T96" fmla="*/ 1754 w 2029"/>
                <a:gd name="T97" fmla="*/ 765 h 2052"/>
                <a:gd name="T98" fmla="*/ 1777 w 2029"/>
                <a:gd name="T99" fmla="*/ 969 h 2052"/>
                <a:gd name="T100" fmla="*/ 1745 w 2029"/>
                <a:gd name="T101" fmla="*/ 1171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29" h="2052">
                  <a:moveTo>
                    <a:pt x="969" y="5"/>
                  </a:moveTo>
                  <a:lnTo>
                    <a:pt x="916" y="11"/>
                  </a:lnTo>
                  <a:lnTo>
                    <a:pt x="863" y="19"/>
                  </a:lnTo>
                  <a:lnTo>
                    <a:pt x="812" y="31"/>
                  </a:lnTo>
                  <a:lnTo>
                    <a:pt x="761" y="43"/>
                  </a:lnTo>
                  <a:lnTo>
                    <a:pt x="711" y="57"/>
                  </a:lnTo>
                  <a:lnTo>
                    <a:pt x="662" y="74"/>
                  </a:lnTo>
                  <a:lnTo>
                    <a:pt x="614" y="92"/>
                  </a:lnTo>
                  <a:lnTo>
                    <a:pt x="566" y="111"/>
                  </a:lnTo>
                  <a:lnTo>
                    <a:pt x="520" y="133"/>
                  </a:lnTo>
                  <a:lnTo>
                    <a:pt x="476" y="156"/>
                  </a:lnTo>
                  <a:lnTo>
                    <a:pt x="432" y="181"/>
                  </a:lnTo>
                  <a:lnTo>
                    <a:pt x="391" y="208"/>
                  </a:lnTo>
                  <a:lnTo>
                    <a:pt x="352" y="235"/>
                  </a:lnTo>
                  <a:lnTo>
                    <a:pt x="313" y="265"/>
                  </a:lnTo>
                  <a:lnTo>
                    <a:pt x="276" y="297"/>
                  </a:lnTo>
                  <a:lnTo>
                    <a:pt x="241" y="328"/>
                  </a:lnTo>
                  <a:lnTo>
                    <a:pt x="209" y="362"/>
                  </a:lnTo>
                  <a:lnTo>
                    <a:pt x="178" y="398"/>
                  </a:lnTo>
                  <a:lnTo>
                    <a:pt x="150" y="434"/>
                  </a:lnTo>
                  <a:lnTo>
                    <a:pt x="122" y="473"/>
                  </a:lnTo>
                  <a:lnTo>
                    <a:pt x="98" y="511"/>
                  </a:lnTo>
                  <a:lnTo>
                    <a:pt x="77" y="552"/>
                  </a:lnTo>
                  <a:lnTo>
                    <a:pt x="59" y="593"/>
                  </a:lnTo>
                  <a:lnTo>
                    <a:pt x="41" y="636"/>
                  </a:lnTo>
                  <a:lnTo>
                    <a:pt x="28" y="681"/>
                  </a:lnTo>
                  <a:lnTo>
                    <a:pt x="16" y="725"/>
                  </a:lnTo>
                  <a:lnTo>
                    <a:pt x="8" y="771"/>
                  </a:lnTo>
                  <a:lnTo>
                    <a:pt x="3" y="818"/>
                  </a:lnTo>
                  <a:lnTo>
                    <a:pt x="0" y="866"/>
                  </a:lnTo>
                  <a:lnTo>
                    <a:pt x="2" y="915"/>
                  </a:lnTo>
                  <a:lnTo>
                    <a:pt x="5" y="965"/>
                  </a:lnTo>
                  <a:lnTo>
                    <a:pt x="13" y="1015"/>
                  </a:lnTo>
                  <a:lnTo>
                    <a:pt x="22" y="1066"/>
                  </a:lnTo>
                  <a:lnTo>
                    <a:pt x="32" y="1116"/>
                  </a:lnTo>
                  <a:lnTo>
                    <a:pt x="44" y="1166"/>
                  </a:lnTo>
                  <a:lnTo>
                    <a:pt x="56" y="1215"/>
                  </a:lnTo>
                  <a:lnTo>
                    <a:pt x="70" y="1263"/>
                  </a:lnTo>
                  <a:lnTo>
                    <a:pt x="84" y="1312"/>
                  </a:lnTo>
                  <a:lnTo>
                    <a:pt x="100" y="1359"/>
                  </a:lnTo>
                  <a:lnTo>
                    <a:pt x="116" y="1405"/>
                  </a:lnTo>
                  <a:lnTo>
                    <a:pt x="134" y="1451"/>
                  </a:lnTo>
                  <a:lnTo>
                    <a:pt x="152" y="1495"/>
                  </a:lnTo>
                  <a:lnTo>
                    <a:pt x="173" y="1538"/>
                  </a:lnTo>
                  <a:lnTo>
                    <a:pt x="193" y="1582"/>
                  </a:lnTo>
                  <a:lnTo>
                    <a:pt x="216" y="1622"/>
                  </a:lnTo>
                  <a:lnTo>
                    <a:pt x="240" y="1661"/>
                  </a:lnTo>
                  <a:lnTo>
                    <a:pt x="265" y="1700"/>
                  </a:lnTo>
                  <a:lnTo>
                    <a:pt x="291" y="1736"/>
                  </a:lnTo>
                  <a:lnTo>
                    <a:pt x="318" y="1771"/>
                  </a:lnTo>
                  <a:lnTo>
                    <a:pt x="347" y="1805"/>
                  </a:lnTo>
                  <a:lnTo>
                    <a:pt x="378" y="1837"/>
                  </a:lnTo>
                  <a:lnTo>
                    <a:pt x="410" y="1867"/>
                  </a:lnTo>
                  <a:lnTo>
                    <a:pt x="443" y="1894"/>
                  </a:lnTo>
                  <a:lnTo>
                    <a:pt x="477" y="1920"/>
                  </a:lnTo>
                  <a:lnTo>
                    <a:pt x="513" y="1944"/>
                  </a:lnTo>
                  <a:lnTo>
                    <a:pt x="551" y="1966"/>
                  </a:lnTo>
                  <a:lnTo>
                    <a:pt x="590" y="1985"/>
                  </a:lnTo>
                  <a:lnTo>
                    <a:pt x="631" y="2003"/>
                  </a:lnTo>
                  <a:lnTo>
                    <a:pt x="673" y="2017"/>
                  </a:lnTo>
                  <a:lnTo>
                    <a:pt x="718" y="2029"/>
                  </a:lnTo>
                  <a:lnTo>
                    <a:pt x="763" y="2039"/>
                  </a:lnTo>
                  <a:lnTo>
                    <a:pt x="810" y="2046"/>
                  </a:lnTo>
                  <a:lnTo>
                    <a:pt x="859" y="2051"/>
                  </a:lnTo>
                  <a:lnTo>
                    <a:pt x="910" y="2052"/>
                  </a:lnTo>
                  <a:lnTo>
                    <a:pt x="962" y="2050"/>
                  </a:lnTo>
                  <a:lnTo>
                    <a:pt x="1013" y="2044"/>
                  </a:lnTo>
                  <a:lnTo>
                    <a:pt x="1063" y="2034"/>
                  </a:lnTo>
                  <a:lnTo>
                    <a:pt x="1113" y="2020"/>
                  </a:lnTo>
                  <a:lnTo>
                    <a:pt x="1162" y="2003"/>
                  </a:lnTo>
                  <a:lnTo>
                    <a:pt x="1211" y="1983"/>
                  </a:lnTo>
                  <a:lnTo>
                    <a:pt x="1259" y="1960"/>
                  </a:lnTo>
                  <a:lnTo>
                    <a:pt x="1307" y="1934"/>
                  </a:lnTo>
                  <a:lnTo>
                    <a:pt x="1353" y="1905"/>
                  </a:lnTo>
                  <a:lnTo>
                    <a:pt x="1398" y="1874"/>
                  </a:lnTo>
                  <a:lnTo>
                    <a:pt x="1443" y="1841"/>
                  </a:lnTo>
                  <a:lnTo>
                    <a:pt x="1486" y="1805"/>
                  </a:lnTo>
                  <a:lnTo>
                    <a:pt x="1528" y="1768"/>
                  </a:lnTo>
                  <a:lnTo>
                    <a:pt x="1569" y="1729"/>
                  </a:lnTo>
                  <a:lnTo>
                    <a:pt x="1608" y="1688"/>
                  </a:lnTo>
                  <a:lnTo>
                    <a:pt x="1647" y="1647"/>
                  </a:lnTo>
                  <a:lnTo>
                    <a:pt x="1683" y="1604"/>
                  </a:lnTo>
                  <a:lnTo>
                    <a:pt x="1719" y="1561"/>
                  </a:lnTo>
                  <a:lnTo>
                    <a:pt x="1753" y="1517"/>
                  </a:lnTo>
                  <a:lnTo>
                    <a:pt x="1785" y="1472"/>
                  </a:lnTo>
                  <a:lnTo>
                    <a:pt x="1814" y="1428"/>
                  </a:lnTo>
                  <a:lnTo>
                    <a:pt x="1843" y="1384"/>
                  </a:lnTo>
                  <a:lnTo>
                    <a:pt x="1870" y="1338"/>
                  </a:lnTo>
                  <a:lnTo>
                    <a:pt x="1895" y="1294"/>
                  </a:lnTo>
                  <a:lnTo>
                    <a:pt x="1918" y="1251"/>
                  </a:lnTo>
                  <a:lnTo>
                    <a:pt x="1939" y="1208"/>
                  </a:lnTo>
                  <a:lnTo>
                    <a:pt x="1958" y="1166"/>
                  </a:lnTo>
                  <a:lnTo>
                    <a:pt x="1974" y="1125"/>
                  </a:lnTo>
                  <a:lnTo>
                    <a:pt x="1989" y="1086"/>
                  </a:lnTo>
                  <a:lnTo>
                    <a:pt x="2001" y="1048"/>
                  </a:lnTo>
                  <a:lnTo>
                    <a:pt x="2010" y="1012"/>
                  </a:lnTo>
                  <a:lnTo>
                    <a:pt x="2018" y="978"/>
                  </a:lnTo>
                  <a:lnTo>
                    <a:pt x="2025" y="927"/>
                  </a:lnTo>
                  <a:lnTo>
                    <a:pt x="2029" y="877"/>
                  </a:lnTo>
                  <a:lnTo>
                    <a:pt x="2028" y="827"/>
                  </a:lnTo>
                  <a:lnTo>
                    <a:pt x="2024" y="778"/>
                  </a:lnTo>
                  <a:lnTo>
                    <a:pt x="2016" y="729"/>
                  </a:lnTo>
                  <a:lnTo>
                    <a:pt x="2005" y="682"/>
                  </a:lnTo>
                  <a:lnTo>
                    <a:pt x="1990" y="635"/>
                  </a:lnTo>
                  <a:lnTo>
                    <a:pt x="1973" y="590"/>
                  </a:lnTo>
                  <a:lnTo>
                    <a:pt x="1952" y="544"/>
                  </a:lnTo>
                  <a:lnTo>
                    <a:pt x="1928" y="500"/>
                  </a:lnTo>
                  <a:lnTo>
                    <a:pt x="1903" y="458"/>
                  </a:lnTo>
                  <a:lnTo>
                    <a:pt x="1874" y="417"/>
                  </a:lnTo>
                  <a:lnTo>
                    <a:pt x="1843" y="376"/>
                  </a:lnTo>
                  <a:lnTo>
                    <a:pt x="1810" y="339"/>
                  </a:lnTo>
                  <a:lnTo>
                    <a:pt x="1773" y="301"/>
                  </a:lnTo>
                  <a:lnTo>
                    <a:pt x="1736" y="266"/>
                  </a:lnTo>
                  <a:lnTo>
                    <a:pt x="1697" y="233"/>
                  </a:lnTo>
                  <a:lnTo>
                    <a:pt x="1656" y="201"/>
                  </a:lnTo>
                  <a:lnTo>
                    <a:pt x="1613" y="172"/>
                  </a:lnTo>
                  <a:lnTo>
                    <a:pt x="1568" y="144"/>
                  </a:lnTo>
                  <a:lnTo>
                    <a:pt x="1522" y="118"/>
                  </a:lnTo>
                  <a:lnTo>
                    <a:pt x="1476" y="95"/>
                  </a:lnTo>
                  <a:lnTo>
                    <a:pt x="1427" y="74"/>
                  </a:lnTo>
                  <a:lnTo>
                    <a:pt x="1379" y="56"/>
                  </a:lnTo>
                  <a:lnTo>
                    <a:pt x="1329" y="40"/>
                  </a:lnTo>
                  <a:lnTo>
                    <a:pt x="1278" y="26"/>
                  </a:lnTo>
                  <a:lnTo>
                    <a:pt x="1227" y="15"/>
                  </a:lnTo>
                  <a:lnTo>
                    <a:pt x="1176" y="7"/>
                  </a:lnTo>
                  <a:lnTo>
                    <a:pt x="1125" y="2"/>
                  </a:lnTo>
                  <a:lnTo>
                    <a:pt x="1072" y="0"/>
                  </a:lnTo>
                  <a:lnTo>
                    <a:pt x="1021" y="0"/>
                  </a:lnTo>
                  <a:lnTo>
                    <a:pt x="969" y="5"/>
                  </a:lnTo>
                  <a:close/>
                  <a:moveTo>
                    <a:pt x="1678" y="1321"/>
                  </a:moveTo>
                  <a:lnTo>
                    <a:pt x="1678" y="1321"/>
                  </a:lnTo>
                  <a:lnTo>
                    <a:pt x="1662" y="1345"/>
                  </a:lnTo>
                  <a:lnTo>
                    <a:pt x="1644" y="1369"/>
                  </a:lnTo>
                  <a:lnTo>
                    <a:pt x="1625" y="1394"/>
                  </a:lnTo>
                  <a:lnTo>
                    <a:pt x="1603" y="1419"/>
                  </a:lnTo>
                  <a:lnTo>
                    <a:pt x="1579" y="1444"/>
                  </a:lnTo>
                  <a:lnTo>
                    <a:pt x="1554" y="1470"/>
                  </a:lnTo>
                  <a:lnTo>
                    <a:pt x="1528" y="1495"/>
                  </a:lnTo>
                  <a:lnTo>
                    <a:pt x="1500" y="1521"/>
                  </a:lnTo>
                  <a:lnTo>
                    <a:pt x="1469" y="1546"/>
                  </a:lnTo>
                  <a:lnTo>
                    <a:pt x="1438" y="1571"/>
                  </a:lnTo>
                  <a:lnTo>
                    <a:pt x="1405" y="1596"/>
                  </a:lnTo>
                  <a:lnTo>
                    <a:pt x="1372" y="1620"/>
                  </a:lnTo>
                  <a:lnTo>
                    <a:pt x="1337" y="1643"/>
                  </a:lnTo>
                  <a:lnTo>
                    <a:pt x="1301" y="1666"/>
                  </a:lnTo>
                  <a:lnTo>
                    <a:pt x="1265" y="1687"/>
                  </a:lnTo>
                  <a:lnTo>
                    <a:pt x="1227" y="1708"/>
                  </a:lnTo>
                  <a:lnTo>
                    <a:pt x="1190" y="1727"/>
                  </a:lnTo>
                  <a:lnTo>
                    <a:pt x="1151" y="1745"/>
                  </a:lnTo>
                  <a:lnTo>
                    <a:pt x="1112" y="1762"/>
                  </a:lnTo>
                  <a:lnTo>
                    <a:pt x="1072" y="1777"/>
                  </a:lnTo>
                  <a:lnTo>
                    <a:pt x="1032" y="1791"/>
                  </a:lnTo>
                  <a:lnTo>
                    <a:pt x="992" y="1802"/>
                  </a:lnTo>
                  <a:lnTo>
                    <a:pt x="952" y="1812"/>
                  </a:lnTo>
                  <a:lnTo>
                    <a:pt x="912" y="1820"/>
                  </a:lnTo>
                  <a:lnTo>
                    <a:pt x="873" y="1826"/>
                  </a:lnTo>
                  <a:lnTo>
                    <a:pt x="833" y="1828"/>
                  </a:lnTo>
                  <a:lnTo>
                    <a:pt x="794" y="1829"/>
                  </a:lnTo>
                  <a:lnTo>
                    <a:pt x="755" y="1828"/>
                  </a:lnTo>
                  <a:lnTo>
                    <a:pt x="716" y="1824"/>
                  </a:lnTo>
                  <a:lnTo>
                    <a:pt x="679" y="1817"/>
                  </a:lnTo>
                  <a:lnTo>
                    <a:pt x="642" y="1806"/>
                  </a:lnTo>
                  <a:lnTo>
                    <a:pt x="606" y="1794"/>
                  </a:lnTo>
                  <a:lnTo>
                    <a:pt x="572" y="1779"/>
                  </a:lnTo>
                  <a:lnTo>
                    <a:pt x="539" y="1762"/>
                  </a:lnTo>
                  <a:lnTo>
                    <a:pt x="509" y="1744"/>
                  </a:lnTo>
                  <a:lnTo>
                    <a:pt x="480" y="1724"/>
                  </a:lnTo>
                  <a:lnTo>
                    <a:pt x="453" y="1703"/>
                  </a:lnTo>
                  <a:lnTo>
                    <a:pt x="429" y="1680"/>
                  </a:lnTo>
                  <a:lnTo>
                    <a:pt x="405" y="1655"/>
                  </a:lnTo>
                  <a:lnTo>
                    <a:pt x="385" y="1630"/>
                  </a:lnTo>
                  <a:lnTo>
                    <a:pt x="365" y="1603"/>
                  </a:lnTo>
                  <a:lnTo>
                    <a:pt x="347" y="1576"/>
                  </a:lnTo>
                  <a:lnTo>
                    <a:pt x="331" y="1546"/>
                  </a:lnTo>
                  <a:lnTo>
                    <a:pt x="317" y="1517"/>
                  </a:lnTo>
                  <a:lnTo>
                    <a:pt x="304" y="1485"/>
                  </a:lnTo>
                  <a:lnTo>
                    <a:pt x="293" y="1453"/>
                  </a:lnTo>
                  <a:lnTo>
                    <a:pt x="283" y="1420"/>
                  </a:lnTo>
                  <a:lnTo>
                    <a:pt x="275" y="1386"/>
                  </a:lnTo>
                  <a:lnTo>
                    <a:pt x="267" y="1351"/>
                  </a:lnTo>
                  <a:lnTo>
                    <a:pt x="263" y="1316"/>
                  </a:lnTo>
                  <a:lnTo>
                    <a:pt x="258" y="1279"/>
                  </a:lnTo>
                  <a:lnTo>
                    <a:pt x="255" y="1243"/>
                  </a:lnTo>
                  <a:lnTo>
                    <a:pt x="252" y="1205"/>
                  </a:lnTo>
                  <a:lnTo>
                    <a:pt x="252" y="1167"/>
                  </a:lnTo>
                  <a:lnTo>
                    <a:pt x="252" y="1128"/>
                  </a:lnTo>
                  <a:lnTo>
                    <a:pt x="255" y="1090"/>
                  </a:lnTo>
                  <a:lnTo>
                    <a:pt x="257" y="1050"/>
                  </a:lnTo>
                  <a:lnTo>
                    <a:pt x="260" y="1010"/>
                  </a:lnTo>
                  <a:lnTo>
                    <a:pt x="265" y="970"/>
                  </a:lnTo>
                  <a:lnTo>
                    <a:pt x="271" y="931"/>
                  </a:lnTo>
                  <a:lnTo>
                    <a:pt x="277" y="890"/>
                  </a:lnTo>
                  <a:lnTo>
                    <a:pt x="284" y="849"/>
                  </a:lnTo>
                  <a:lnTo>
                    <a:pt x="293" y="809"/>
                  </a:lnTo>
                  <a:lnTo>
                    <a:pt x="301" y="768"/>
                  </a:lnTo>
                  <a:lnTo>
                    <a:pt x="312" y="728"/>
                  </a:lnTo>
                  <a:lnTo>
                    <a:pt x="325" y="690"/>
                  </a:lnTo>
                  <a:lnTo>
                    <a:pt x="340" y="652"/>
                  </a:lnTo>
                  <a:lnTo>
                    <a:pt x="357" y="617"/>
                  </a:lnTo>
                  <a:lnTo>
                    <a:pt x="375" y="583"/>
                  </a:lnTo>
                  <a:lnTo>
                    <a:pt x="397" y="550"/>
                  </a:lnTo>
                  <a:lnTo>
                    <a:pt x="419" y="518"/>
                  </a:lnTo>
                  <a:lnTo>
                    <a:pt x="444" y="489"/>
                  </a:lnTo>
                  <a:lnTo>
                    <a:pt x="470" y="460"/>
                  </a:lnTo>
                  <a:lnTo>
                    <a:pt x="497" y="434"/>
                  </a:lnTo>
                  <a:lnTo>
                    <a:pt x="527" y="408"/>
                  </a:lnTo>
                  <a:lnTo>
                    <a:pt x="557" y="385"/>
                  </a:lnTo>
                  <a:lnTo>
                    <a:pt x="589" y="362"/>
                  </a:lnTo>
                  <a:lnTo>
                    <a:pt x="622" y="342"/>
                  </a:lnTo>
                  <a:lnTo>
                    <a:pt x="656" y="323"/>
                  </a:lnTo>
                  <a:lnTo>
                    <a:pt x="691" y="306"/>
                  </a:lnTo>
                  <a:lnTo>
                    <a:pt x="727" y="290"/>
                  </a:lnTo>
                  <a:lnTo>
                    <a:pt x="764" y="276"/>
                  </a:lnTo>
                  <a:lnTo>
                    <a:pt x="802" y="264"/>
                  </a:lnTo>
                  <a:lnTo>
                    <a:pt x="840" y="252"/>
                  </a:lnTo>
                  <a:lnTo>
                    <a:pt x="878" y="243"/>
                  </a:lnTo>
                  <a:lnTo>
                    <a:pt x="918" y="235"/>
                  </a:lnTo>
                  <a:lnTo>
                    <a:pt x="957" y="230"/>
                  </a:lnTo>
                  <a:lnTo>
                    <a:pt x="997" y="225"/>
                  </a:lnTo>
                  <a:lnTo>
                    <a:pt x="1037" y="223"/>
                  </a:lnTo>
                  <a:lnTo>
                    <a:pt x="1078" y="222"/>
                  </a:lnTo>
                  <a:lnTo>
                    <a:pt x="1118" y="223"/>
                  </a:lnTo>
                  <a:lnTo>
                    <a:pt x="1158" y="225"/>
                  </a:lnTo>
                  <a:lnTo>
                    <a:pt x="1198" y="230"/>
                  </a:lnTo>
                  <a:lnTo>
                    <a:pt x="1237" y="235"/>
                  </a:lnTo>
                  <a:lnTo>
                    <a:pt x="1276" y="243"/>
                  </a:lnTo>
                  <a:lnTo>
                    <a:pt x="1315" y="253"/>
                  </a:lnTo>
                  <a:lnTo>
                    <a:pt x="1351" y="265"/>
                  </a:lnTo>
                  <a:lnTo>
                    <a:pt x="1387" y="278"/>
                  </a:lnTo>
                  <a:lnTo>
                    <a:pt x="1421" y="295"/>
                  </a:lnTo>
                  <a:lnTo>
                    <a:pt x="1454" y="315"/>
                  </a:lnTo>
                  <a:lnTo>
                    <a:pt x="1485" y="336"/>
                  </a:lnTo>
                  <a:lnTo>
                    <a:pt x="1516" y="359"/>
                  </a:lnTo>
                  <a:lnTo>
                    <a:pt x="1544" y="385"/>
                  </a:lnTo>
                  <a:lnTo>
                    <a:pt x="1571" y="412"/>
                  </a:lnTo>
                  <a:lnTo>
                    <a:pt x="1597" y="442"/>
                  </a:lnTo>
                  <a:lnTo>
                    <a:pt x="1622" y="473"/>
                  </a:lnTo>
                  <a:lnTo>
                    <a:pt x="1643" y="506"/>
                  </a:lnTo>
                  <a:lnTo>
                    <a:pt x="1665" y="539"/>
                  </a:lnTo>
                  <a:lnTo>
                    <a:pt x="1684" y="574"/>
                  </a:lnTo>
                  <a:lnTo>
                    <a:pt x="1701" y="610"/>
                  </a:lnTo>
                  <a:lnTo>
                    <a:pt x="1717" y="648"/>
                  </a:lnTo>
                  <a:lnTo>
                    <a:pt x="1731" y="686"/>
                  </a:lnTo>
                  <a:lnTo>
                    <a:pt x="1744" y="725"/>
                  </a:lnTo>
                  <a:lnTo>
                    <a:pt x="1754" y="765"/>
                  </a:lnTo>
                  <a:lnTo>
                    <a:pt x="1763" y="806"/>
                  </a:lnTo>
                  <a:lnTo>
                    <a:pt x="1769" y="845"/>
                  </a:lnTo>
                  <a:lnTo>
                    <a:pt x="1773" y="887"/>
                  </a:lnTo>
                  <a:lnTo>
                    <a:pt x="1776" y="928"/>
                  </a:lnTo>
                  <a:lnTo>
                    <a:pt x="1777" y="969"/>
                  </a:lnTo>
                  <a:lnTo>
                    <a:pt x="1774" y="1010"/>
                  </a:lnTo>
                  <a:lnTo>
                    <a:pt x="1770" y="1051"/>
                  </a:lnTo>
                  <a:lnTo>
                    <a:pt x="1764" y="1092"/>
                  </a:lnTo>
                  <a:lnTo>
                    <a:pt x="1755" y="1132"/>
                  </a:lnTo>
                  <a:lnTo>
                    <a:pt x="1745" y="1171"/>
                  </a:lnTo>
                  <a:lnTo>
                    <a:pt x="1731" y="1210"/>
                  </a:lnTo>
                  <a:lnTo>
                    <a:pt x="1716" y="1249"/>
                  </a:lnTo>
                  <a:lnTo>
                    <a:pt x="1698" y="1285"/>
                  </a:lnTo>
                  <a:lnTo>
                    <a:pt x="1678" y="1321"/>
                  </a:lnTo>
                  <a:close/>
                </a:path>
              </a:pathLst>
            </a:custGeom>
            <a:solidFill>
              <a:srgbClr val="61B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6903020" y="1747641"/>
              <a:ext cx="346075" cy="365125"/>
            </a:xfrm>
            <a:custGeom>
              <a:avLst/>
              <a:gdLst>
                <a:gd name="T0" fmla="*/ 906 w 1525"/>
                <a:gd name="T1" fmla="*/ 3 h 1607"/>
                <a:gd name="T2" fmla="*/ 705 w 1525"/>
                <a:gd name="T3" fmla="*/ 8 h 1607"/>
                <a:gd name="T4" fmla="*/ 512 w 1525"/>
                <a:gd name="T5" fmla="*/ 54 h 1607"/>
                <a:gd name="T6" fmla="*/ 337 w 1525"/>
                <a:gd name="T7" fmla="*/ 140 h 1607"/>
                <a:gd name="T8" fmla="*/ 192 w 1525"/>
                <a:gd name="T9" fmla="*/ 267 h 1607"/>
                <a:gd name="T10" fmla="*/ 88 w 1525"/>
                <a:gd name="T11" fmla="*/ 430 h 1607"/>
                <a:gd name="T12" fmla="*/ 32 w 1525"/>
                <a:gd name="T13" fmla="*/ 627 h 1607"/>
                <a:gd name="T14" fmla="*/ 5 w 1525"/>
                <a:gd name="T15" fmla="*/ 828 h 1607"/>
                <a:gd name="T16" fmla="*/ 3 w 1525"/>
                <a:gd name="T17" fmla="*/ 1021 h 1607"/>
                <a:gd name="T18" fmla="*/ 31 w 1525"/>
                <a:gd name="T19" fmla="*/ 1198 h 1607"/>
                <a:gd name="T20" fmla="*/ 95 w 1525"/>
                <a:gd name="T21" fmla="*/ 1354 h 1607"/>
                <a:gd name="T22" fmla="*/ 201 w 1525"/>
                <a:gd name="T23" fmla="*/ 1481 h 1607"/>
                <a:gd name="T24" fmla="*/ 354 w 1525"/>
                <a:gd name="T25" fmla="*/ 1572 h 1607"/>
                <a:gd name="T26" fmla="*/ 542 w 1525"/>
                <a:gd name="T27" fmla="*/ 1607 h 1607"/>
                <a:gd name="T28" fmla="*/ 740 w 1525"/>
                <a:gd name="T29" fmla="*/ 1580 h 1607"/>
                <a:gd name="T30" fmla="*/ 938 w 1525"/>
                <a:gd name="T31" fmla="*/ 1505 h 1607"/>
                <a:gd name="T32" fmla="*/ 1120 w 1525"/>
                <a:gd name="T33" fmla="*/ 1398 h 1607"/>
                <a:gd name="T34" fmla="*/ 1276 w 1525"/>
                <a:gd name="T35" fmla="*/ 1273 h 1607"/>
                <a:gd name="T36" fmla="*/ 1392 w 1525"/>
                <a:gd name="T37" fmla="*/ 1147 h 1607"/>
                <a:gd name="T38" fmla="*/ 1479 w 1525"/>
                <a:gd name="T39" fmla="*/ 988 h 1607"/>
                <a:gd name="T40" fmla="*/ 1522 w 1525"/>
                <a:gd name="T41" fmla="*/ 788 h 1607"/>
                <a:gd name="T42" fmla="*/ 1511 w 1525"/>
                <a:gd name="T43" fmla="*/ 584 h 1607"/>
                <a:gd name="T44" fmla="*/ 1449 w 1525"/>
                <a:gd name="T45" fmla="*/ 388 h 1607"/>
                <a:gd name="T46" fmla="*/ 1345 w 1525"/>
                <a:gd name="T47" fmla="*/ 220 h 1607"/>
                <a:gd name="T48" fmla="*/ 1202 w 1525"/>
                <a:gd name="T49" fmla="*/ 93 h 1607"/>
                <a:gd name="T50" fmla="*/ 1288 w 1525"/>
                <a:gd name="T51" fmla="*/ 1105 h 1607"/>
                <a:gd name="T52" fmla="*/ 1229 w 1525"/>
                <a:gd name="T53" fmla="*/ 1178 h 1607"/>
                <a:gd name="T54" fmla="*/ 1122 w 1525"/>
                <a:gd name="T55" fmla="*/ 1268 h 1607"/>
                <a:gd name="T56" fmla="*/ 987 w 1525"/>
                <a:gd name="T57" fmla="*/ 1347 h 1607"/>
                <a:gd name="T58" fmla="*/ 834 w 1525"/>
                <a:gd name="T59" fmla="*/ 1407 h 1607"/>
                <a:gd name="T60" fmla="*/ 673 w 1525"/>
                <a:gd name="T61" fmla="*/ 1440 h 1607"/>
                <a:gd name="T62" fmla="*/ 518 w 1525"/>
                <a:gd name="T63" fmla="*/ 1435 h 1607"/>
                <a:gd name="T64" fmla="*/ 379 w 1525"/>
                <a:gd name="T65" fmla="*/ 1386 h 1607"/>
                <a:gd name="T66" fmla="*/ 275 w 1525"/>
                <a:gd name="T67" fmla="*/ 1303 h 1607"/>
                <a:gd name="T68" fmla="*/ 206 w 1525"/>
                <a:gd name="T69" fmla="*/ 1195 h 1607"/>
                <a:gd name="T70" fmla="*/ 167 w 1525"/>
                <a:gd name="T71" fmla="*/ 1066 h 1607"/>
                <a:gd name="T72" fmla="*/ 154 w 1525"/>
                <a:gd name="T73" fmla="*/ 924 h 1607"/>
                <a:gd name="T74" fmla="*/ 165 w 1525"/>
                <a:gd name="T75" fmla="*/ 772 h 1607"/>
                <a:gd name="T76" fmla="*/ 192 w 1525"/>
                <a:gd name="T77" fmla="*/ 617 h 1607"/>
                <a:gd name="T78" fmla="*/ 251 w 1525"/>
                <a:gd name="T79" fmla="*/ 470 h 1607"/>
                <a:gd name="T80" fmla="*/ 350 w 1525"/>
                <a:gd name="T81" fmla="*/ 348 h 1607"/>
                <a:gd name="T82" fmla="*/ 479 w 1525"/>
                <a:gd name="T83" fmla="*/ 255 h 1607"/>
                <a:gd name="T84" fmla="*/ 627 w 1525"/>
                <a:gd name="T85" fmla="*/ 193 h 1607"/>
                <a:gd name="T86" fmla="*/ 786 w 1525"/>
                <a:gd name="T87" fmla="*/ 165 h 1607"/>
                <a:gd name="T88" fmla="*/ 943 w 1525"/>
                <a:gd name="T89" fmla="*/ 177 h 1607"/>
                <a:gd name="T90" fmla="*/ 1089 w 1525"/>
                <a:gd name="T91" fmla="*/ 231 h 1607"/>
                <a:gd name="T92" fmla="*/ 1211 w 1525"/>
                <a:gd name="T93" fmla="*/ 336 h 1607"/>
                <a:gd name="T94" fmla="*/ 1300 w 1525"/>
                <a:gd name="T95" fmla="*/ 476 h 1607"/>
                <a:gd name="T96" fmla="*/ 1355 w 1525"/>
                <a:gd name="T97" fmla="*/ 638 h 1607"/>
                <a:gd name="T98" fmla="*/ 1370 w 1525"/>
                <a:gd name="T99" fmla="*/ 811 h 1607"/>
                <a:gd name="T100" fmla="*/ 1342 w 1525"/>
                <a:gd name="T101" fmla="*/ 98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25" h="1607">
                  <a:moveTo>
                    <a:pt x="1063" y="31"/>
                  </a:moveTo>
                  <a:lnTo>
                    <a:pt x="1024" y="21"/>
                  </a:lnTo>
                  <a:lnTo>
                    <a:pt x="985" y="13"/>
                  </a:lnTo>
                  <a:lnTo>
                    <a:pt x="946" y="8"/>
                  </a:lnTo>
                  <a:lnTo>
                    <a:pt x="906" y="3"/>
                  </a:lnTo>
                  <a:lnTo>
                    <a:pt x="866" y="1"/>
                  </a:lnTo>
                  <a:lnTo>
                    <a:pt x="826" y="0"/>
                  </a:lnTo>
                  <a:lnTo>
                    <a:pt x="785" y="1"/>
                  </a:lnTo>
                  <a:lnTo>
                    <a:pt x="745" y="3"/>
                  </a:lnTo>
                  <a:lnTo>
                    <a:pt x="705" y="8"/>
                  </a:lnTo>
                  <a:lnTo>
                    <a:pt x="666" y="13"/>
                  </a:lnTo>
                  <a:lnTo>
                    <a:pt x="626" y="21"/>
                  </a:lnTo>
                  <a:lnTo>
                    <a:pt x="588" y="30"/>
                  </a:lnTo>
                  <a:lnTo>
                    <a:pt x="550" y="42"/>
                  </a:lnTo>
                  <a:lnTo>
                    <a:pt x="512" y="54"/>
                  </a:lnTo>
                  <a:lnTo>
                    <a:pt x="475" y="68"/>
                  </a:lnTo>
                  <a:lnTo>
                    <a:pt x="439" y="84"/>
                  </a:lnTo>
                  <a:lnTo>
                    <a:pt x="404" y="101"/>
                  </a:lnTo>
                  <a:lnTo>
                    <a:pt x="370" y="120"/>
                  </a:lnTo>
                  <a:lnTo>
                    <a:pt x="337" y="140"/>
                  </a:lnTo>
                  <a:lnTo>
                    <a:pt x="305" y="163"/>
                  </a:lnTo>
                  <a:lnTo>
                    <a:pt x="275" y="186"/>
                  </a:lnTo>
                  <a:lnTo>
                    <a:pt x="245" y="212"/>
                  </a:lnTo>
                  <a:lnTo>
                    <a:pt x="218" y="238"/>
                  </a:lnTo>
                  <a:lnTo>
                    <a:pt x="192" y="267"/>
                  </a:lnTo>
                  <a:lnTo>
                    <a:pt x="167" y="296"/>
                  </a:lnTo>
                  <a:lnTo>
                    <a:pt x="145" y="328"/>
                  </a:lnTo>
                  <a:lnTo>
                    <a:pt x="123" y="361"/>
                  </a:lnTo>
                  <a:lnTo>
                    <a:pt x="105" y="395"/>
                  </a:lnTo>
                  <a:lnTo>
                    <a:pt x="88" y="430"/>
                  </a:lnTo>
                  <a:lnTo>
                    <a:pt x="73" y="468"/>
                  </a:lnTo>
                  <a:lnTo>
                    <a:pt x="60" y="506"/>
                  </a:lnTo>
                  <a:lnTo>
                    <a:pt x="49" y="546"/>
                  </a:lnTo>
                  <a:lnTo>
                    <a:pt x="41" y="587"/>
                  </a:lnTo>
                  <a:lnTo>
                    <a:pt x="32" y="627"/>
                  </a:lnTo>
                  <a:lnTo>
                    <a:pt x="25" y="668"/>
                  </a:lnTo>
                  <a:lnTo>
                    <a:pt x="19" y="709"/>
                  </a:lnTo>
                  <a:lnTo>
                    <a:pt x="13" y="748"/>
                  </a:lnTo>
                  <a:lnTo>
                    <a:pt x="8" y="788"/>
                  </a:lnTo>
                  <a:lnTo>
                    <a:pt x="5" y="828"/>
                  </a:lnTo>
                  <a:lnTo>
                    <a:pt x="3" y="868"/>
                  </a:lnTo>
                  <a:lnTo>
                    <a:pt x="0" y="906"/>
                  </a:lnTo>
                  <a:lnTo>
                    <a:pt x="0" y="945"/>
                  </a:lnTo>
                  <a:lnTo>
                    <a:pt x="0" y="983"/>
                  </a:lnTo>
                  <a:lnTo>
                    <a:pt x="3" y="1021"/>
                  </a:lnTo>
                  <a:lnTo>
                    <a:pt x="6" y="1057"/>
                  </a:lnTo>
                  <a:lnTo>
                    <a:pt x="11" y="1094"/>
                  </a:lnTo>
                  <a:lnTo>
                    <a:pt x="15" y="1129"/>
                  </a:lnTo>
                  <a:lnTo>
                    <a:pt x="23" y="1164"/>
                  </a:lnTo>
                  <a:lnTo>
                    <a:pt x="31" y="1198"/>
                  </a:lnTo>
                  <a:lnTo>
                    <a:pt x="41" y="1231"/>
                  </a:lnTo>
                  <a:lnTo>
                    <a:pt x="52" y="1263"/>
                  </a:lnTo>
                  <a:lnTo>
                    <a:pt x="65" y="1295"/>
                  </a:lnTo>
                  <a:lnTo>
                    <a:pt x="79" y="1324"/>
                  </a:lnTo>
                  <a:lnTo>
                    <a:pt x="95" y="1354"/>
                  </a:lnTo>
                  <a:lnTo>
                    <a:pt x="113" y="1381"/>
                  </a:lnTo>
                  <a:lnTo>
                    <a:pt x="133" y="1408"/>
                  </a:lnTo>
                  <a:lnTo>
                    <a:pt x="153" y="1433"/>
                  </a:lnTo>
                  <a:lnTo>
                    <a:pt x="177" y="1458"/>
                  </a:lnTo>
                  <a:lnTo>
                    <a:pt x="201" y="1481"/>
                  </a:lnTo>
                  <a:lnTo>
                    <a:pt x="228" y="1502"/>
                  </a:lnTo>
                  <a:lnTo>
                    <a:pt x="257" y="1522"/>
                  </a:lnTo>
                  <a:lnTo>
                    <a:pt x="287" y="1540"/>
                  </a:lnTo>
                  <a:lnTo>
                    <a:pt x="320" y="1557"/>
                  </a:lnTo>
                  <a:lnTo>
                    <a:pt x="354" y="1572"/>
                  </a:lnTo>
                  <a:lnTo>
                    <a:pt x="390" y="1584"/>
                  </a:lnTo>
                  <a:lnTo>
                    <a:pt x="427" y="1595"/>
                  </a:lnTo>
                  <a:lnTo>
                    <a:pt x="464" y="1602"/>
                  </a:lnTo>
                  <a:lnTo>
                    <a:pt x="503" y="1606"/>
                  </a:lnTo>
                  <a:lnTo>
                    <a:pt x="542" y="1607"/>
                  </a:lnTo>
                  <a:lnTo>
                    <a:pt x="581" y="1606"/>
                  </a:lnTo>
                  <a:lnTo>
                    <a:pt x="621" y="1604"/>
                  </a:lnTo>
                  <a:lnTo>
                    <a:pt x="660" y="1598"/>
                  </a:lnTo>
                  <a:lnTo>
                    <a:pt x="700" y="1590"/>
                  </a:lnTo>
                  <a:lnTo>
                    <a:pt x="740" y="1580"/>
                  </a:lnTo>
                  <a:lnTo>
                    <a:pt x="780" y="1569"/>
                  </a:lnTo>
                  <a:lnTo>
                    <a:pt x="820" y="1555"/>
                  </a:lnTo>
                  <a:lnTo>
                    <a:pt x="860" y="1540"/>
                  </a:lnTo>
                  <a:lnTo>
                    <a:pt x="899" y="1523"/>
                  </a:lnTo>
                  <a:lnTo>
                    <a:pt x="938" y="1505"/>
                  </a:lnTo>
                  <a:lnTo>
                    <a:pt x="975" y="1486"/>
                  </a:lnTo>
                  <a:lnTo>
                    <a:pt x="1013" y="1465"/>
                  </a:lnTo>
                  <a:lnTo>
                    <a:pt x="1049" y="1444"/>
                  </a:lnTo>
                  <a:lnTo>
                    <a:pt x="1085" y="1421"/>
                  </a:lnTo>
                  <a:lnTo>
                    <a:pt x="1120" y="1398"/>
                  </a:lnTo>
                  <a:lnTo>
                    <a:pt x="1153" y="1374"/>
                  </a:lnTo>
                  <a:lnTo>
                    <a:pt x="1186" y="1349"/>
                  </a:lnTo>
                  <a:lnTo>
                    <a:pt x="1217" y="1324"/>
                  </a:lnTo>
                  <a:lnTo>
                    <a:pt x="1248" y="1299"/>
                  </a:lnTo>
                  <a:lnTo>
                    <a:pt x="1276" y="1273"/>
                  </a:lnTo>
                  <a:lnTo>
                    <a:pt x="1302" y="1248"/>
                  </a:lnTo>
                  <a:lnTo>
                    <a:pt x="1327" y="1222"/>
                  </a:lnTo>
                  <a:lnTo>
                    <a:pt x="1351" y="1197"/>
                  </a:lnTo>
                  <a:lnTo>
                    <a:pt x="1373" y="1172"/>
                  </a:lnTo>
                  <a:lnTo>
                    <a:pt x="1392" y="1147"/>
                  </a:lnTo>
                  <a:lnTo>
                    <a:pt x="1410" y="1123"/>
                  </a:lnTo>
                  <a:lnTo>
                    <a:pt x="1426" y="1099"/>
                  </a:lnTo>
                  <a:lnTo>
                    <a:pt x="1446" y="1063"/>
                  </a:lnTo>
                  <a:lnTo>
                    <a:pt x="1464" y="1027"/>
                  </a:lnTo>
                  <a:lnTo>
                    <a:pt x="1479" y="988"/>
                  </a:lnTo>
                  <a:lnTo>
                    <a:pt x="1493" y="949"/>
                  </a:lnTo>
                  <a:lnTo>
                    <a:pt x="1503" y="910"/>
                  </a:lnTo>
                  <a:lnTo>
                    <a:pt x="1512" y="870"/>
                  </a:lnTo>
                  <a:lnTo>
                    <a:pt x="1518" y="829"/>
                  </a:lnTo>
                  <a:lnTo>
                    <a:pt x="1522" y="788"/>
                  </a:lnTo>
                  <a:lnTo>
                    <a:pt x="1525" y="747"/>
                  </a:lnTo>
                  <a:lnTo>
                    <a:pt x="1524" y="706"/>
                  </a:lnTo>
                  <a:lnTo>
                    <a:pt x="1521" y="665"/>
                  </a:lnTo>
                  <a:lnTo>
                    <a:pt x="1517" y="623"/>
                  </a:lnTo>
                  <a:lnTo>
                    <a:pt x="1511" y="584"/>
                  </a:lnTo>
                  <a:lnTo>
                    <a:pt x="1502" y="543"/>
                  </a:lnTo>
                  <a:lnTo>
                    <a:pt x="1492" y="503"/>
                  </a:lnTo>
                  <a:lnTo>
                    <a:pt x="1479" y="464"/>
                  </a:lnTo>
                  <a:lnTo>
                    <a:pt x="1465" y="426"/>
                  </a:lnTo>
                  <a:lnTo>
                    <a:pt x="1449" y="388"/>
                  </a:lnTo>
                  <a:lnTo>
                    <a:pt x="1432" y="352"/>
                  </a:lnTo>
                  <a:lnTo>
                    <a:pt x="1413" y="317"/>
                  </a:lnTo>
                  <a:lnTo>
                    <a:pt x="1391" y="284"/>
                  </a:lnTo>
                  <a:lnTo>
                    <a:pt x="1370" y="251"/>
                  </a:lnTo>
                  <a:lnTo>
                    <a:pt x="1345" y="220"/>
                  </a:lnTo>
                  <a:lnTo>
                    <a:pt x="1319" y="190"/>
                  </a:lnTo>
                  <a:lnTo>
                    <a:pt x="1292" y="163"/>
                  </a:lnTo>
                  <a:lnTo>
                    <a:pt x="1264" y="137"/>
                  </a:lnTo>
                  <a:lnTo>
                    <a:pt x="1233" y="114"/>
                  </a:lnTo>
                  <a:lnTo>
                    <a:pt x="1202" y="93"/>
                  </a:lnTo>
                  <a:lnTo>
                    <a:pt x="1169" y="73"/>
                  </a:lnTo>
                  <a:lnTo>
                    <a:pt x="1135" y="56"/>
                  </a:lnTo>
                  <a:lnTo>
                    <a:pt x="1099" y="43"/>
                  </a:lnTo>
                  <a:lnTo>
                    <a:pt x="1063" y="31"/>
                  </a:lnTo>
                  <a:close/>
                  <a:moveTo>
                    <a:pt x="1288" y="1105"/>
                  </a:moveTo>
                  <a:lnTo>
                    <a:pt x="1288" y="1105"/>
                  </a:lnTo>
                  <a:lnTo>
                    <a:pt x="1276" y="1123"/>
                  </a:lnTo>
                  <a:lnTo>
                    <a:pt x="1262" y="1141"/>
                  </a:lnTo>
                  <a:lnTo>
                    <a:pt x="1247" y="1160"/>
                  </a:lnTo>
                  <a:lnTo>
                    <a:pt x="1229" y="1178"/>
                  </a:lnTo>
                  <a:lnTo>
                    <a:pt x="1211" y="1196"/>
                  </a:lnTo>
                  <a:lnTo>
                    <a:pt x="1191" y="1214"/>
                  </a:lnTo>
                  <a:lnTo>
                    <a:pt x="1169" y="1232"/>
                  </a:lnTo>
                  <a:lnTo>
                    <a:pt x="1146" y="1250"/>
                  </a:lnTo>
                  <a:lnTo>
                    <a:pt x="1122" y="1268"/>
                  </a:lnTo>
                  <a:lnTo>
                    <a:pt x="1097" y="1285"/>
                  </a:lnTo>
                  <a:lnTo>
                    <a:pt x="1071" y="1300"/>
                  </a:lnTo>
                  <a:lnTo>
                    <a:pt x="1044" y="1316"/>
                  </a:lnTo>
                  <a:lnTo>
                    <a:pt x="1015" y="1332"/>
                  </a:lnTo>
                  <a:lnTo>
                    <a:pt x="987" y="1347"/>
                  </a:lnTo>
                  <a:lnTo>
                    <a:pt x="957" y="1361"/>
                  </a:lnTo>
                  <a:lnTo>
                    <a:pt x="927" y="1374"/>
                  </a:lnTo>
                  <a:lnTo>
                    <a:pt x="896" y="1386"/>
                  </a:lnTo>
                  <a:lnTo>
                    <a:pt x="865" y="1397"/>
                  </a:lnTo>
                  <a:lnTo>
                    <a:pt x="834" y="1407"/>
                  </a:lnTo>
                  <a:lnTo>
                    <a:pt x="802" y="1416"/>
                  </a:lnTo>
                  <a:lnTo>
                    <a:pt x="770" y="1424"/>
                  </a:lnTo>
                  <a:lnTo>
                    <a:pt x="738" y="1431"/>
                  </a:lnTo>
                  <a:lnTo>
                    <a:pt x="705" y="1436"/>
                  </a:lnTo>
                  <a:lnTo>
                    <a:pt x="673" y="1440"/>
                  </a:lnTo>
                  <a:lnTo>
                    <a:pt x="641" y="1442"/>
                  </a:lnTo>
                  <a:lnTo>
                    <a:pt x="610" y="1442"/>
                  </a:lnTo>
                  <a:lnTo>
                    <a:pt x="578" y="1442"/>
                  </a:lnTo>
                  <a:lnTo>
                    <a:pt x="548" y="1439"/>
                  </a:lnTo>
                  <a:lnTo>
                    <a:pt x="518" y="1435"/>
                  </a:lnTo>
                  <a:lnTo>
                    <a:pt x="488" y="1429"/>
                  </a:lnTo>
                  <a:lnTo>
                    <a:pt x="459" y="1421"/>
                  </a:lnTo>
                  <a:lnTo>
                    <a:pt x="431" y="1411"/>
                  </a:lnTo>
                  <a:lnTo>
                    <a:pt x="404" y="1398"/>
                  </a:lnTo>
                  <a:lnTo>
                    <a:pt x="379" y="1386"/>
                  </a:lnTo>
                  <a:lnTo>
                    <a:pt x="355" y="1371"/>
                  </a:lnTo>
                  <a:lnTo>
                    <a:pt x="333" y="1356"/>
                  </a:lnTo>
                  <a:lnTo>
                    <a:pt x="312" y="1339"/>
                  </a:lnTo>
                  <a:lnTo>
                    <a:pt x="292" y="1321"/>
                  </a:lnTo>
                  <a:lnTo>
                    <a:pt x="275" y="1303"/>
                  </a:lnTo>
                  <a:lnTo>
                    <a:pt x="258" y="1283"/>
                  </a:lnTo>
                  <a:lnTo>
                    <a:pt x="243" y="1262"/>
                  </a:lnTo>
                  <a:lnTo>
                    <a:pt x="230" y="1240"/>
                  </a:lnTo>
                  <a:lnTo>
                    <a:pt x="217" y="1219"/>
                  </a:lnTo>
                  <a:lnTo>
                    <a:pt x="206" y="1195"/>
                  </a:lnTo>
                  <a:lnTo>
                    <a:pt x="195" y="1171"/>
                  </a:lnTo>
                  <a:lnTo>
                    <a:pt x="186" y="1146"/>
                  </a:lnTo>
                  <a:lnTo>
                    <a:pt x="179" y="1120"/>
                  </a:lnTo>
                  <a:lnTo>
                    <a:pt x="173" y="1094"/>
                  </a:lnTo>
                  <a:lnTo>
                    <a:pt x="167" y="1066"/>
                  </a:lnTo>
                  <a:lnTo>
                    <a:pt x="162" y="1039"/>
                  </a:lnTo>
                  <a:lnTo>
                    <a:pt x="159" y="1012"/>
                  </a:lnTo>
                  <a:lnTo>
                    <a:pt x="157" y="982"/>
                  </a:lnTo>
                  <a:lnTo>
                    <a:pt x="155" y="954"/>
                  </a:lnTo>
                  <a:lnTo>
                    <a:pt x="154" y="924"/>
                  </a:lnTo>
                  <a:lnTo>
                    <a:pt x="154" y="895"/>
                  </a:lnTo>
                  <a:lnTo>
                    <a:pt x="155" y="864"/>
                  </a:lnTo>
                  <a:lnTo>
                    <a:pt x="158" y="835"/>
                  </a:lnTo>
                  <a:lnTo>
                    <a:pt x="161" y="804"/>
                  </a:lnTo>
                  <a:lnTo>
                    <a:pt x="165" y="772"/>
                  </a:lnTo>
                  <a:lnTo>
                    <a:pt x="168" y="741"/>
                  </a:lnTo>
                  <a:lnTo>
                    <a:pt x="174" y="711"/>
                  </a:lnTo>
                  <a:lnTo>
                    <a:pt x="179" y="679"/>
                  </a:lnTo>
                  <a:lnTo>
                    <a:pt x="185" y="647"/>
                  </a:lnTo>
                  <a:lnTo>
                    <a:pt x="192" y="617"/>
                  </a:lnTo>
                  <a:lnTo>
                    <a:pt x="200" y="586"/>
                  </a:lnTo>
                  <a:lnTo>
                    <a:pt x="210" y="555"/>
                  </a:lnTo>
                  <a:lnTo>
                    <a:pt x="222" y="526"/>
                  </a:lnTo>
                  <a:lnTo>
                    <a:pt x="235" y="497"/>
                  </a:lnTo>
                  <a:lnTo>
                    <a:pt x="251" y="470"/>
                  </a:lnTo>
                  <a:lnTo>
                    <a:pt x="268" y="444"/>
                  </a:lnTo>
                  <a:lnTo>
                    <a:pt x="287" y="419"/>
                  </a:lnTo>
                  <a:lnTo>
                    <a:pt x="306" y="394"/>
                  </a:lnTo>
                  <a:lnTo>
                    <a:pt x="328" y="371"/>
                  </a:lnTo>
                  <a:lnTo>
                    <a:pt x="350" y="348"/>
                  </a:lnTo>
                  <a:lnTo>
                    <a:pt x="373" y="328"/>
                  </a:lnTo>
                  <a:lnTo>
                    <a:pt x="398" y="307"/>
                  </a:lnTo>
                  <a:lnTo>
                    <a:pt x="424" y="289"/>
                  </a:lnTo>
                  <a:lnTo>
                    <a:pt x="452" y="271"/>
                  </a:lnTo>
                  <a:lnTo>
                    <a:pt x="479" y="255"/>
                  </a:lnTo>
                  <a:lnTo>
                    <a:pt x="508" y="240"/>
                  </a:lnTo>
                  <a:lnTo>
                    <a:pt x="536" y="227"/>
                  </a:lnTo>
                  <a:lnTo>
                    <a:pt x="567" y="214"/>
                  </a:lnTo>
                  <a:lnTo>
                    <a:pt x="597" y="203"/>
                  </a:lnTo>
                  <a:lnTo>
                    <a:pt x="627" y="193"/>
                  </a:lnTo>
                  <a:lnTo>
                    <a:pt x="659" y="185"/>
                  </a:lnTo>
                  <a:lnTo>
                    <a:pt x="690" y="178"/>
                  </a:lnTo>
                  <a:lnTo>
                    <a:pt x="722" y="172"/>
                  </a:lnTo>
                  <a:lnTo>
                    <a:pt x="754" y="168"/>
                  </a:lnTo>
                  <a:lnTo>
                    <a:pt x="786" y="165"/>
                  </a:lnTo>
                  <a:lnTo>
                    <a:pt x="818" y="164"/>
                  </a:lnTo>
                  <a:lnTo>
                    <a:pt x="850" y="165"/>
                  </a:lnTo>
                  <a:lnTo>
                    <a:pt x="881" y="168"/>
                  </a:lnTo>
                  <a:lnTo>
                    <a:pt x="912" y="171"/>
                  </a:lnTo>
                  <a:lnTo>
                    <a:pt x="943" y="177"/>
                  </a:lnTo>
                  <a:lnTo>
                    <a:pt x="973" y="184"/>
                  </a:lnTo>
                  <a:lnTo>
                    <a:pt x="1004" y="193"/>
                  </a:lnTo>
                  <a:lnTo>
                    <a:pt x="1033" y="203"/>
                  </a:lnTo>
                  <a:lnTo>
                    <a:pt x="1062" y="217"/>
                  </a:lnTo>
                  <a:lnTo>
                    <a:pt x="1089" y="231"/>
                  </a:lnTo>
                  <a:lnTo>
                    <a:pt x="1117" y="250"/>
                  </a:lnTo>
                  <a:lnTo>
                    <a:pt x="1142" y="268"/>
                  </a:lnTo>
                  <a:lnTo>
                    <a:pt x="1166" y="289"/>
                  </a:lnTo>
                  <a:lnTo>
                    <a:pt x="1188" y="312"/>
                  </a:lnTo>
                  <a:lnTo>
                    <a:pt x="1211" y="336"/>
                  </a:lnTo>
                  <a:lnTo>
                    <a:pt x="1232" y="361"/>
                  </a:lnTo>
                  <a:lnTo>
                    <a:pt x="1251" y="388"/>
                  </a:lnTo>
                  <a:lnTo>
                    <a:pt x="1268" y="417"/>
                  </a:lnTo>
                  <a:lnTo>
                    <a:pt x="1285" y="445"/>
                  </a:lnTo>
                  <a:lnTo>
                    <a:pt x="1300" y="476"/>
                  </a:lnTo>
                  <a:lnTo>
                    <a:pt x="1314" y="506"/>
                  </a:lnTo>
                  <a:lnTo>
                    <a:pt x="1326" y="539"/>
                  </a:lnTo>
                  <a:lnTo>
                    <a:pt x="1338" y="571"/>
                  </a:lnTo>
                  <a:lnTo>
                    <a:pt x="1347" y="605"/>
                  </a:lnTo>
                  <a:lnTo>
                    <a:pt x="1355" y="638"/>
                  </a:lnTo>
                  <a:lnTo>
                    <a:pt x="1361" y="672"/>
                  </a:lnTo>
                  <a:lnTo>
                    <a:pt x="1366" y="707"/>
                  </a:lnTo>
                  <a:lnTo>
                    <a:pt x="1369" y="741"/>
                  </a:lnTo>
                  <a:lnTo>
                    <a:pt x="1371" y="777"/>
                  </a:lnTo>
                  <a:lnTo>
                    <a:pt x="1370" y="811"/>
                  </a:lnTo>
                  <a:lnTo>
                    <a:pt x="1369" y="846"/>
                  </a:lnTo>
                  <a:lnTo>
                    <a:pt x="1364" y="880"/>
                  </a:lnTo>
                  <a:lnTo>
                    <a:pt x="1359" y="914"/>
                  </a:lnTo>
                  <a:lnTo>
                    <a:pt x="1351" y="947"/>
                  </a:lnTo>
                  <a:lnTo>
                    <a:pt x="1342" y="980"/>
                  </a:lnTo>
                  <a:lnTo>
                    <a:pt x="1332" y="1013"/>
                  </a:lnTo>
                  <a:lnTo>
                    <a:pt x="1319" y="1045"/>
                  </a:lnTo>
                  <a:lnTo>
                    <a:pt x="1305" y="1076"/>
                  </a:lnTo>
                  <a:lnTo>
                    <a:pt x="1288" y="1105"/>
                  </a:lnTo>
                  <a:close/>
                </a:path>
              </a:pathLst>
            </a:custGeom>
            <a:solidFill>
              <a:srgbClr val="D8E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auto">
            <a:xfrm>
              <a:off x="6937945" y="1785741"/>
              <a:ext cx="276225" cy="288925"/>
            </a:xfrm>
            <a:custGeom>
              <a:avLst/>
              <a:gdLst>
                <a:gd name="T0" fmla="*/ 758 w 1217"/>
                <a:gd name="T1" fmla="*/ 7 h 1278"/>
                <a:gd name="T2" fmla="*/ 632 w 1217"/>
                <a:gd name="T3" fmla="*/ 1 h 1278"/>
                <a:gd name="T4" fmla="*/ 505 w 1217"/>
                <a:gd name="T5" fmla="*/ 21 h 1278"/>
                <a:gd name="T6" fmla="*/ 382 w 1217"/>
                <a:gd name="T7" fmla="*/ 63 h 1278"/>
                <a:gd name="T8" fmla="*/ 270 w 1217"/>
                <a:gd name="T9" fmla="*/ 125 h 1278"/>
                <a:gd name="T10" fmla="*/ 174 w 1217"/>
                <a:gd name="T11" fmla="*/ 207 h 1278"/>
                <a:gd name="T12" fmla="*/ 97 w 1217"/>
                <a:gd name="T13" fmla="*/ 306 h 1278"/>
                <a:gd name="T14" fmla="*/ 46 w 1217"/>
                <a:gd name="T15" fmla="*/ 422 h 1278"/>
                <a:gd name="T16" fmla="*/ 20 w 1217"/>
                <a:gd name="T17" fmla="*/ 547 h 1278"/>
                <a:gd name="T18" fmla="*/ 4 w 1217"/>
                <a:gd name="T19" fmla="*/ 671 h 1278"/>
                <a:gd name="T20" fmla="*/ 1 w 1217"/>
                <a:gd name="T21" fmla="*/ 790 h 1278"/>
                <a:gd name="T22" fmla="*/ 13 w 1217"/>
                <a:gd name="T23" fmla="*/ 902 h 1278"/>
                <a:gd name="T24" fmla="*/ 41 w 1217"/>
                <a:gd name="T25" fmla="*/ 1007 h 1278"/>
                <a:gd name="T26" fmla="*/ 89 w 1217"/>
                <a:gd name="T27" fmla="*/ 1098 h 1278"/>
                <a:gd name="T28" fmla="*/ 158 w 1217"/>
                <a:gd name="T29" fmla="*/ 1175 h 1278"/>
                <a:gd name="T30" fmla="*/ 250 w 1217"/>
                <a:gd name="T31" fmla="*/ 1234 h 1278"/>
                <a:gd name="T32" fmla="*/ 364 w 1217"/>
                <a:gd name="T33" fmla="*/ 1271 h 1278"/>
                <a:gd name="T34" fmla="*/ 487 w 1217"/>
                <a:gd name="T35" fmla="*/ 1278 h 1278"/>
                <a:gd name="T36" fmla="*/ 616 w 1217"/>
                <a:gd name="T37" fmla="*/ 1260 h 1278"/>
                <a:gd name="T38" fmla="*/ 742 w 1217"/>
                <a:gd name="T39" fmla="*/ 1222 h 1278"/>
                <a:gd name="T40" fmla="*/ 861 w 1217"/>
                <a:gd name="T41" fmla="*/ 1168 h 1278"/>
                <a:gd name="T42" fmla="*/ 968 w 1217"/>
                <a:gd name="T43" fmla="*/ 1104 h 1278"/>
                <a:gd name="T44" fmla="*/ 1057 w 1217"/>
                <a:gd name="T45" fmla="*/ 1032 h 1278"/>
                <a:gd name="T46" fmla="*/ 1122 w 1217"/>
                <a:gd name="T47" fmla="*/ 959 h 1278"/>
                <a:gd name="T48" fmla="*/ 1178 w 1217"/>
                <a:gd name="T49" fmla="*/ 849 h 1278"/>
                <a:gd name="T50" fmla="*/ 1210 w 1217"/>
                <a:gd name="T51" fmla="*/ 716 h 1278"/>
                <a:gd name="T52" fmla="*/ 1215 w 1217"/>
                <a:gd name="T53" fmla="*/ 577 h 1278"/>
                <a:gd name="T54" fmla="*/ 1193 w 1217"/>
                <a:gd name="T55" fmla="*/ 441 h 1278"/>
                <a:gd name="T56" fmla="*/ 1146 w 1217"/>
                <a:gd name="T57" fmla="*/ 312 h 1278"/>
                <a:gd name="T58" fmla="*/ 1078 w 1217"/>
                <a:gd name="T59" fmla="*/ 197 h 1278"/>
                <a:gd name="T60" fmla="*/ 988 w 1217"/>
                <a:gd name="T61" fmla="*/ 104 h 1278"/>
                <a:gd name="T62" fmla="*/ 879 w 1217"/>
                <a:gd name="T63" fmla="*/ 39 h 1278"/>
                <a:gd name="T64" fmla="*/ 888 w 1217"/>
                <a:gd name="T65" fmla="*/ 956 h 1278"/>
                <a:gd name="T66" fmla="*/ 820 w 1217"/>
                <a:gd name="T67" fmla="*/ 1015 h 1278"/>
                <a:gd name="T68" fmla="*/ 741 w 1217"/>
                <a:gd name="T69" fmla="*/ 1054 h 1278"/>
                <a:gd name="T70" fmla="*/ 655 w 1217"/>
                <a:gd name="T71" fmla="*/ 1073 h 1278"/>
                <a:gd name="T72" fmla="*/ 565 w 1217"/>
                <a:gd name="T73" fmla="*/ 1075 h 1278"/>
                <a:gd name="T74" fmla="*/ 473 w 1217"/>
                <a:gd name="T75" fmla="*/ 1059 h 1278"/>
                <a:gd name="T76" fmla="*/ 384 w 1217"/>
                <a:gd name="T77" fmla="*/ 1029 h 1278"/>
                <a:gd name="T78" fmla="*/ 301 w 1217"/>
                <a:gd name="T79" fmla="*/ 983 h 1278"/>
                <a:gd name="T80" fmla="*/ 228 w 1217"/>
                <a:gd name="T81" fmla="*/ 924 h 1278"/>
                <a:gd name="T82" fmla="*/ 175 w 1217"/>
                <a:gd name="T83" fmla="*/ 852 h 1278"/>
                <a:gd name="T84" fmla="*/ 141 w 1217"/>
                <a:gd name="T85" fmla="*/ 768 h 1278"/>
                <a:gd name="T86" fmla="*/ 126 w 1217"/>
                <a:gd name="T87" fmla="*/ 676 h 1278"/>
                <a:gd name="T88" fmla="*/ 130 w 1217"/>
                <a:gd name="T89" fmla="*/ 583 h 1278"/>
                <a:gd name="T90" fmla="*/ 153 w 1217"/>
                <a:gd name="T91" fmla="*/ 491 h 1278"/>
                <a:gd name="T92" fmla="*/ 194 w 1217"/>
                <a:gd name="T93" fmla="*/ 406 h 1278"/>
                <a:gd name="T94" fmla="*/ 252 w 1217"/>
                <a:gd name="T95" fmla="*/ 334 h 1278"/>
                <a:gd name="T96" fmla="*/ 321 w 1217"/>
                <a:gd name="T97" fmla="*/ 282 h 1278"/>
                <a:gd name="T98" fmla="*/ 389 w 1217"/>
                <a:gd name="T99" fmla="*/ 251 h 1278"/>
                <a:gd name="T100" fmla="*/ 476 w 1217"/>
                <a:gd name="T101" fmla="*/ 226 h 1278"/>
                <a:gd name="T102" fmla="*/ 573 w 1217"/>
                <a:gd name="T103" fmla="*/ 209 h 1278"/>
                <a:gd name="T104" fmla="*/ 676 w 1217"/>
                <a:gd name="T105" fmla="*/ 204 h 1278"/>
                <a:gd name="T106" fmla="*/ 779 w 1217"/>
                <a:gd name="T107" fmla="*/ 209 h 1278"/>
                <a:gd name="T108" fmla="*/ 876 w 1217"/>
                <a:gd name="T109" fmla="*/ 232 h 1278"/>
                <a:gd name="T110" fmla="*/ 960 w 1217"/>
                <a:gd name="T111" fmla="*/ 273 h 1278"/>
                <a:gd name="T112" fmla="*/ 1028 w 1217"/>
                <a:gd name="T113" fmla="*/ 334 h 1278"/>
                <a:gd name="T114" fmla="*/ 1070 w 1217"/>
                <a:gd name="T115" fmla="*/ 405 h 1278"/>
                <a:gd name="T116" fmla="*/ 1089 w 1217"/>
                <a:gd name="T117" fmla="*/ 481 h 1278"/>
                <a:gd name="T118" fmla="*/ 1089 w 1217"/>
                <a:gd name="T119" fmla="*/ 559 h 1278"/>
                <a:gd name="T120" fmla="*/ 1072 w 1217"/>
                <a:gd name="T121" fmla="*/ 640 h 1278"/>
                <a:gd name="T122" fmla="*/ 1040 w 1217"/>
                <a:gd name="T123" fmla="*/ 722 h 1278"/>
                <a:gd name="T124" fmla="*/ 985 w 1217"/>
                <a:gd name="T125" fmla="*/ 822 h 1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7" h="1278">
                  <a:moveTo>
                    <a:pt x="850" y="29"/>
                  </a:moveTo>
                  <a:lnTo>
                    <a:pt x="819" y="20"/>
                  </a:lnTo>
                  <a:lnTo>
                    <a:pt x="789" y="13"/>
                  </a:lnTo>
                  <a:lnTo>
                    <a:pt x="758" y="7"/>
                  </a:lnTo>
                  <a:lnTo>
                    <a:pt x="727" y="4"/>
                  </a:lnTo>
                  <a:lnTo>
                    <a:pt x="696" y="1"/>
                  </a:lnTo>
                  <a:lnTo>
                    <a:pt x="664" y="0"/>
                  </a:lnTo>
                  <a:lnTo>
                    <a:pt x="632" y="1"/>
                  </a:lnTo>
                  <a:lnTo>
                    <a:pt x="600" y="4"/>
                  </a:lnTo>
                  <a:lnTo>
                    <a:pt x="568" y="8"/>
                  </a:lnTo>
                  <a:lnTo>
                    <a:pt x="536" y="14"/>
                  </a:lnTo>
                  <a:lnTo>
                    <a:pt x="505" y="21"/>
                  </a:lnTo>
                  <a:lnTo>
                    <a:pt x="473" y="29"/>
                  </a:lnTo>
                  <a:lnTo>
                    <a:pt x="443" y="39"/>
                  </a:lnTo>
                  <a:lnTo>
                    <a:pt x="413" y="50"/>
                  </a:lnTo>
                  <a:lnTo>
                    <a:pt x="382" y="63"/>
                  </a:lnTo>
                  <a:lnTo>
                    <a:pt x="354" y="76"/>
                  </a:lnTo>
                  <a:lnTo>
                    <a:pt x="325" y="91"/>
                  </a:lnTo>
                  <a:lnTo>
                    <a:pt x="298" y="107"/>
                  </a:lnTo>
                  <a:lnTo>
                    <a:pt x="270" y="125"/>
                  </a:lnTo>
                  <a:lnTo>
                    <a:pt x="244" y="143"/>
                  </a:lnTo>
                  <a:lnTo>
                    <a:pt x="219" y="164"/>
                  </a:lnTo>
                  <a:lnTo>
                    <a:pt x="196" y="184"/>
                  </a:lnTo>
                  <a:lnTo>
                    <a:pt x="174" y="207"/>
                  </a:lnTo>
                  <a:lnTo>
                    <a:pt x="152" y="230"/>
                  </a:lnTo>
                  <a:lnTo>
                    <a:pt x="133" y="255"/>
                  </a:lnTo>
                  <a:lnTo>
                    <a:pt x="114" y="280"/>
                  </a:lnTo>
                  <a:lnTo>
                    <a:pt x="97" y="306"/>
                  </a:lnTo>
                  <a:lnTo>
                    <a:pt x="81" y="333"/>
                  </a:lnTo>
                  <a:lnTo>
                    <a:pt x="68" y="362"/>
                  </a:lnTo>
                  <a:lnTo>
                    <a:pt x="56" y="391"/>
                  </a:lnTo>
                  <a:lnTo>
                    <a:pt x="46" y="422"/>
                  </a:lnTo>
                  <a:lnTo>
                    <a:pt x="38" y="453"/>
                  </a:lnTo>
                  <a:lnTo>
                    <a:pt x="31" y="483"/>
                  </a:lnTo>
                  <a:lnTo>
                    <a:pt x="25" y="515"/>
                  </a:lnTo>
                  <a:lnTo>
                    <a:pt x="20" y="547"/>
                  </a:lnTo>
                  <a:lnTo>
                    <a:pt x="14" y="577"/>
                  </a:lnTo>
                  <a:lnTo>
                    <a:pt x="11" y="608"/>
                  </a:lnTo>
                  <a:lnTo>
                    <a:pt x="7" y="640"/>
                  </a:lnTo>
                  <a:lnTo>
                    <a:pt x="4" y="671"/>
                  </a:lnTo>
                  <a:lnTo>
                    <a:pt x="1" y="700"/>
                  </a:lnTo>
                  <a:lnTo>
                    <a:pt x="0" y="731"/>
                  </a:lnTo>
                  <a:lnTo>
                    <a:pt x="0" y="760"/>
                  </a:lnTo>
                  <a:lnTo>
                    <a:pt x="1" y="790"/>
                  </a:lnTo>
                  <a:lnTo>
                    <a:pt x="3" y="818"/>
                  </a:lnTo>
                  <a:lnTo>
                    <a:pt x="5" y="848"/>
                  </a:lnTo>
                  <a:lnTo>
                    <a:pt x="8" y="875"/>
                  </a:lnTo>
                  <a:lnTo>
                    <a:pt x="13" y="902"/>
                  </a:lnTo>
                  <a:lnTo>
                    <a:pt x="19" y="930"/>
                  </a:lnTo>
                  <a:lnTo>
                    <a:pt x="25" y="956"/>
                  </a:lnTo>
                  <a:lnTo>
                    <a:pt x="32" y="982"/>
                  </a:lnTo>
                  <a:lnTo>
                    <a:pt x="41" y="1007"/>
                  </a:lnTo>
                  <a:lnTo>
                    <a:pt x="52" y="1031"/>
                  </a:lnTo>
                  <a:lnTo>
                    <a:pt x="63" y="1055"/>
                  </a:lnTo>
                  <a:lnTo>
                    <a:pt x="76" y="1076"/>
                  </a:lnTo>
                  <a:lnTo>
                    <a:pt x="89" y="1098"/>
                  </a:lnTo>
                  <a:lnTo>
                    <a:pt x="104" y="1119"/>
                  </a:lnTo>
                  <a:lnTo>
                    <a:pt x="121" y="1139"/>
                  </a:lnTo>
                  <a:lnTo>
                    <a:pt x="138" y="1157"/>
                  </a:lnTo>
                  <a:lnTo>
                    <a:pt x="158" y="1175"/>
                  </a:lnTo>
                  <a:lnTo>
                    <a:pt x="179" y="1192"/>
                  </a:lnTo>
                  <a:lnTo>
                    <a:pt x="201" y="1207"/>
                  </a:lnTo>
                  <a:lnTo>
                    <a:pt x="225" y="1222"/>
                  </a:lnTo>
                  <a:lnTo>
                    <a:pt x="250" y="1234"/>
                  </a:lnTo>
                  <a:lnTo>
                    <a:pt x="277" y="1247"/>
                  </a:lnTo>
                  <a:lnTo>
                    <a:pt x="305" y="1257"/>
                  </a:lnTo>
                  <a:lnTo>
                    <a:pt x="334" y="1265"/>
                  </a:lnTo>
                  <a:lnTo>
                    <a:pt x="364" y="1271"/>
                  </a:lnTo>
                  <a:lnTo>
                    <a:pt x="394" y="1275"/>
                  </a:lnTo>
                  <a:lnTo>
                    <a:pt x="424" y="1278"/>
                  </a:lnTo>
                  <a:lnTo>
                    <a:pt x="456" y="1278"/>
                  </a:lnTo>
                  <a:lnTo>
                    <a:pt x="487" y="1278"/>
                  </a:lnTo>
                  <a:lnTo>
                    <a:pt x="519" y="1276"/>
                  </a:lnTo>
                  <a:lnTo>
                    <a:pt x="551" y="1272"/>
                  </a:lnTo>
                  <a:lnTo>
                    <a:pt x="584" y="1267"/>
                  </a:lnTo>
                  <a:lnTo>
                    <a:pt x="616" y="1260"/>
                  </a:lnTo>
                  <a:lnTo>
                    <a:pt x="648" y="1252"/>
                  </a:lnTo>
                  <a:lnTo>
                    <a:pt x="680" y="1243"/>
                  </a:lnTo>
                  <a:lnTo>
                    <a:pt x="711" y="1233"/>
                  </a:lnTo>
                  <a:lnTo>
                    <a:pt x="742" y="1222"/>
                  </a:lnTo>
                  <a:lnTo>
                    <a:pt x="773" y="1210"/>
                  </a:lnTo>
                  <a:lnTo>
                    <a:pt x="803" y="1197"/>
                  </a:lnTo>
                  <a:lnTo>
                    <a:pt x="833" y="1183"/>
                  </a:lnTo>
                  <a:lnTo>
                    <a:pt x="861" y="1168"/>
                  </a:lnTo>
                  <a:lnTo>
                    <a:pt x="890" y="1152"/>
                  </a:lnTo>
                  <a:lnTo>
                    <a:pt x="917" y="1136"/>
                  </a:lnTo>
                  <a:lnTo>
                    <a:pt x="943" y="1121"/>
                  </a:lnTo>
                  <a:lnTo>
                    <a:pt x="968" y="1104"/>
                  </a:lnTo>
                  <a:lnTo>
                    <a:pt x="992" y="1086"/>
                  </a:lnTo>
                  <a:lnTo>
                    <a:pt x="1015" y="1068"/>
                  </a:lnTo>
                  <a:lnTo>
                    <a:pt x="1037" y="1050"/>
                  </a:lnTo>
                  <a:lnTo>
                    <a:pt x="1057" y="1032"/>
                  </a:lnTo>
                  <a:lnTo>
                    <a:pt x="1075" y="1014"/>
                  </a:lnTo>
                  <a:lnTo>
                    <a:pt x="1093" y="996"/>
                  </a:lnTo>
                  <a:lnTo>
                    <a:pt x="1108" y="977"/>
                  </a:lnTo>
                  <a:lnTo>
                    <a:pt x="1122" y="959"/>
                  </a:lnTo>
                  <a:lnTo>
                    <a:pt x="1134" y="941"/>
                  </a:lnTo>
                  <a:lnTo>
                    <a:pt x="1151" y="912"/>
                  </a:lnTo>
                  <a:lnTo>
                    <a:pt x="1165" y="881"/>
                  </a:lnTo>
                  <a:lnTo>
                    <a:pt x="1178" y="849"/>
                  </a:lnTo>
                  <a:lnTo>
                    <a:pt x="1188" y="816"/>
                  </a:lnTo>
                  <a:lnTo>
                    <a:pt x="1197" y="783"/>
                  </a:lnTo>
                  <a:lnTo>
                    <a:pt x="1205" y="750"/>
                  </a:lnTo>
                  <a:lnTo>
                    <a:pt x="1210" y="716"/>
                  </a:lnTo>
                  <a:lnTo>
                    <a:pt x="1215" y="682"/>
                  </a:lnTo>
                  <a:lnTo>
                    <a:pt x="1216" y="647"/>
                  </a:lnTo>
                  <a:lnTo>
                    <a:pt x="1217" y="613"/>
                  </a:lnTo>
                  <a:lnTo>
                    <a:pt x="1215" y="577"/>
                  </a:lnTo>
                  <a:lnTo>
                    <a:pt x="1212" y="543"/>
                  </a:lnTo>
                  <a:lnTo>
                    <a:pt x="1207" y="508"/>
                  </a:lnTo>
                  <a:lnTo>
                    <a:pt x="1201" y="474"/>
                  </a:lnTo>
                  <a:lnTo>
                    <a:pt x="1193" y="441"/>
                  </a:lnTo>
                  <a:lnTo>
                    <a:pt x="1184" y="407"/>
                  </a:lnTo>
                  <a:lnTo>
                    <a:pt x="1172" y="375"/>
                  </a:lnTo>
                  <a:lnTo>
                    <a:pt x="1160" y="342"/>
                  </a:lnTo>
                  <a:lnTo>
                    <a:pt x="1146" y="312"/>
                  </a:lnTo>
                  <a:lnTo>
                    <a:pt x="1131" y="281"/>
                  </a:lnTo>
                  <a:lnTo>
                    <a:pt x="1114" y="253"/>
                  </a:lnTo>
                  <a:lnTo>
                    <a:pt x="1097" y="224"/>
                  </a:lnTo>
                  <a:lnTo>
                    <a:pt x="1078" y="197"/>
                  </a:lnTo>
                  <a:lnTo>
                    <a:pt x="1057" y="172"/>
                  </a:lnTo>
                  <a:lnTo>
                    <a:pt x="1034" y="148"/>
                  </a:lnTo>
                  <a:lnTo>
                    <a:pt x="1012" y="125"/>
                  </a:lnTo>
                  <a:lnTo>
                    <a:pt x="988" y="104"/>
                  </a:lnTo>
                  <a:lnTo>
                    <a:pt x="963" y="86"/>
                  </a:lnTo>
                  <a:lnTo>
                    <a:pt x="935" y="67"/>
                  </a:lnTo>
                  <a:lnTo>
                    <a:pt x="908" y="53"/>
                  </a:lnTo>
                  <a:lnTo>
                    <a:pt x="879" y="39"/>
                  </a:lnTo>
                  <a:lnTo>
                    <a:pt x="850" y="29"/>
                  </a:lnTo>
                  <a:close/>
                  <a:moveTo>
                    <a:pt x="903" y="938"/>
                  </a:moveTo>
                  <a:lnTo>
                    <a:pt x="903" y="938"/>
                  </a:lnTo>
                  <a:lnTo>
                    <a:pt x="888" y="956"/>
                  </a:lnTo>
                  <a:lnTo>
                    <a:pt x="872" y="972"/>
                  </a:lnTo>
                  <a:lnTo>
                    <a:pt x="855" y="988"/>
                  </a:lnTo>
                  <a:lnTo>
                    <a:pt x="838" y="1001"/>
                  </a:lnTo>
                  <a:lnTo>
                    <a:pt x="820" y="1015"/>
                  </a:lnTo>
                  <a:lnTo>
                    <a:pt x="802" y="1026"/>
                  </a:lnTo>
                  <a:lnTo>
                    <a:pt x="781" y="1036"/>
                  </a:lnTo>
                  <a:lnTo>
                    <a:pt x="762" y="1046"/>
                  </a:lnTo>
                  <a:lnTo>
                    <a:pt x="741" y="1054"/>
                  </a:lnTo>
                  <a:lnTo>
                    <a:pt x="720" y="1060"/>
                  </a:lnTo>
                  <a:lnTo>
                    <a:pt x="699" y="1066"/>
                  </a:lnTo>
                  <a:lnTo>
                    <a:pt x="676" y="1069"/>
                  </a:lnTo>
                  <a:lnTo>
                    <a:pt x="655" y="1073"/>
                  </a:lnTo>
                  <a:lnTo>
                    <a:pt x="633" y="1075"/>
                  </a:lnTo>
                  <a:lnTo>
                    <a:pt x="610" y="1076"/>
                  </a:lnTo>
                  <a:lnTo>
                    <a:pt x="587" y="1076"/>
                  </a:lnTo>
                  <a:lnTo>
                    <a:pt x="565" y="1075"/>
                  </a:lnTo>
                  <a:lnTo>
                    <a:pt x="542" y="1073"/>
                  </a:lnTo>
                  <a:lnTo>
                    <a:pt x="519" y="1069"/>
                  </a:lnTo>
                  <a:lnTo>
                    <a:pt x="496" y="1065"/>
                  </a:lnTo>
                  <a:lnTo>
                    <a:pt x="473" y="1059"/>
                  </a:lnTo>
                  <a:lnTo>
                    <a:pt x="451" y="1054"/>
                  </a:lnTo>
                  <a:lnTo>
                    <a:pt x="428" y="1046"/>
                  </a:lnTo>
                  <a:lnTo>
                    <a:pt x="406" y="1038"/>
                  </a:lnTo>
                  <a:lnTo>
                    <a:pt x="384" y="1029"/>
                  </a:lnTo>
                  <a:lnTo>
                    <a:pt x="363" y="1018"/>
                  </a:lnTo>
                  <a:lnTo>
                    <a:pt x="342" y="1008"/>
                  </a:lnTo>
                  <a:lnTo>
                    <a:pt x="322" y="996"/>
                  </a:lnTo>
                  <a:lnTo>
                    <a:pt x="301" y="983"/>
                  </a:lnTo>
                  <a:lnTo>
                    <a:pt x="282" y="969"/>
                  </a:lnTo>
                  <a:lnTo>
                    <a:pt x="262" y="955"/>
                  </a:lnTo>
                  <a:lnTo>
                    <a:pt x="244" y="940"/>
                  </a:lnTo>
                  <a:lnTo>
                    <a:pt x="228" y="924"/>
                  </a:lnTo>
                  <a:lnTo>
                    <a:pt x="212" y="908"/>
                  </a:lnTo>
                  <a:lnTo>
                    <a:pt x="199" y="890"/>
                  </a:lnTo>
                  <a:lnTo>
                    <a:pt x="186" y="872"/>
                  </a:lnTo>
                  <a:lnTo>
                    <a:pt x="175" y="852"/>
                  </a:lnTo>
                  <a:lnTo>
                    <a:pt x="164" y="832"/>
                  </a:lnTo>
                  <a:lnTo>
                    <a:pt x="155" y="812"/>
                  </a:lnTo>
                  <a:lnTo>
                    <a:pt x="147" y="790"/>
                  </a:lnTo>
                  <a:lnTo>
                    <a:pt x="141" y="768"/>
                  </a:lnTo>
                  <a:lnTo>
                    <a:pt x="135" y="746"/>
                  </a:lnTo>
                  <a:lnTo>
                    <a:pt x="130" y="723"/>
                  </a:lnTo>
                  <a:lnTo>
                    <a:pt x="128" y="700"/>
                  </a:lnTo>
                  <a:lnTo>
                    <a:pt x="126" y="676"/>
                  </a:lnTo>
                  <a:lnTo>
                    <a:pt x="125" y="654"/>
                  </a:lnTo>
                  <a:lnTo>
                    <a:pt x="126" y="630"/>
                  </a:lnTo>
                  <a:lnTo>
                    <a:pt x="127" y="606"/>
                  </a:lnTo>
                  <a:lnTo>
                    <a:pt x="130" y="583"/>
                  </a:lnTo>
                  <a:lnTo>
                    <a:pt x="134" y="559"/>
                  </a:lnTo>
                  <a:lnTo>
                    <a:pt x="139" y="537"/>
                  </a:lnTo>
                  <a:lnTo>
                    <a:pt x="145" y="514"/>
                  </a:lnTo>
                  <a:lnTo>
                    <a:pt x="153" y="491"/>
                  </a:lnTo>
                  <a:lnTo>
                    <a:pt x="161" y="470"/>
                  </a:lnTo>
                  <a:lnTo>
                    <a:pt x="171" y="448"/>
                  </a:lnTo>
                  <a:lnTo>
                    <a:pt x="182" y="426"/>
                  </a:lnTo>
                  <a:lnTo>
                    <a:pt x="194" y="406"/>
                  </a:lnTo>
                  <a:lnTo>
                    <a:pt x="207" y="387"/>
                  </a:lnTo>
                  <a:lnTo>
                    <a:pt x="220" y="368"/>
                  </a:lnTo>
                  <a:lnTo>
                    <a:pt x="236" y="350"/>
                  </a:lnTo>
                  <a:lnTo>
                    <a:pt x="252" y="334"/>
                  </a:lnTo>
                  <a:lnTo>
                    <a:pt x="269" y="318"/>
                  </a:lnTo>
                  <a:lnTo>
                    <a:pt x="288" y="304"/>
                  </a:lnTo>
                  <a:lnTo>
                    <a:pt x="307" y="290"/>
                  </a:lnTo>
                  <a:lnTo>
                    <a:pt x="321" y="282"/>
                  </a:lnTo>
                  <a:lnTo>
                    <a:pt x="337" y="274"/>
                  </a:lnTo>
                  <a:lnTo>
                    <a:pt x="353" y="266"/>
                  </a:lnTo>
                  <a:lnTo>
                    <a:pt x="371" y="258"/>
                  </a:lnTo>
                  <a:lnTo>
                    <a:pt x="389" y="251"/>
                  </a:lnTo>
                  <a:lnTo>
                    <a:pt x="410" y="245"/>
                  </a:lnTo>
                  <a:lnTo>
                    <a:pt x="431" y="238"/>
                  </a:lnTo>
                  <a:lnTo>
                    <a:pt x="453" y="232"/>
                  </a:lnTo>
                  <a:lnTo>
                    <a:pt x="476" y="226"/>
                  </a:lnTo>
                  <a:lnTo>
                    <a:pt x="499" y="222"/>
                  </a:lnTo>
                  <a:lnTo>
                    <a:pt x="524" y="217"/>
                  </a:lnTo>
                  <a:lnTo>
                    <a:pt x="548" y="213"/>
                  </a:lnTo>
                  <a:lnTo>
                    <a:pt x="573" y="209"/>
                  </a:lnTo>
                  <a:lnTo>
                    <a:pt x="599" y="207"/>
                  </a:lnTo>
                  <a:lnTo>
                    <a:pt x="624" y="205"/>
                  </a:lnTo>
                  <a:lnTo>
                    <a:pt x="650" y="204"/>
                  </a:lnTo>
                  <a:lnTo>
                    <a:pt x="676" y="204"/>
                  </a:lnTo>
                  <a:lnTo>
                    <a:pt x="701" y="204"/>
                  </a:lnTo>
                  <a:lnTo>
                    <a:pt x="728" y="205"/>
                  </a:lnTo>
                  <a:lnTo>
                    <a:pt x="754" y="207"/>
                  </a:lnTo>
                  <a:lnTo>
                    <a:pt x="779" y="209"/>
                  </a:lnTo>
                  <a:lnTo>
                    <a:pt x="804" y="214"/>
                  </a:lnTo>
                  <a:lnTo>
                    <a:pt x="828" y="218"/>
                  </a:lnTo>
                  <a:lnTo>
                    <a:pt x="852" y="225"/>
                  </a:lnTo>
                  <a:lnTo>
                    <a:pt x="876" y="232"/>
                  </a:lnTo>
                  <a:lnTo>
                    <a:pt x="899" y="241"/>
                  </a:lnTo>
                  <a:lnTo>
                    <a:pt x="920" y="250"/>
                  </a:lnTo>
                  <a:lnTo>
                    <a:pt x="941" y="261"/>
                  </a:lnTo>
                  <a:lnTo>
                    <a:pt x="960" y="273"/>
                  </a:lnTo>
                  <a:lnTo>
                    <a:pt x="978" y="287"/>
                  </a:lnTo>
                  <a:lnTo>
                    <a:pt x="997" y="301"/>
                  </a:lnTo>
                  <a:lnTo>
                    <a:pt x="1013" y="317"/>
                  </a:lnTo>
                  <a:lnTo>
                    <a:pt x="1028" y="334"/>
                  </a:lnTo>
                  <a:lnTo>
                    <a:pt x="1040" y="351"/>
                  </a:lnTo>
                  <a:lnTo>
                    <a:pt x="1051" y="368"/>
                  </a:lnTo>
                  <a:lnTo>
                    <a:pt x="1062" y="387"/>
                  </a:lnTo>
                  <a:lnTo>
                    <a:pt x="1070" y="405"/>
                  </a:lnTo>
                  <a:lnTo>
                    <a:pt x="1077" y="424"/>
                  </a:lnTo>
                  <a:lnTo>
                    <a:pt x="1082" y="442"/>
                  </a:lnTo>
                  <a:lnTo>
                    <a:pt x="1087" y="462"/>
                  </a:lnTo>
                  <a:lnTo>
                    <a:pt x="1089" y="481"/>
                  </a:lnTo>
                  <a:lnTo>
                    <a:pt x="1091" y="500"/>
                  </a:lnTo>
                  <a:lnTo>
                    <a:pt x="1091" y="520"/>
                  </a:lnTo>
                  <a:lnTo>
                    <a:pt x="1091" y="540"/>
                  </a:lnTo>
                  <a:lnTo>
                    <a:pt x="1089" y="559"/>
                  </a:lnTo>
                  <a:lnTo>
                    <a:pt x="1087" y="580"/>
                  </a:lnTo>
                  <a:lnTo>
                    <a:pt x="1082" y="599"/>
                  </a:lnTo>
                  <a:lnTo>
                    <a:pt x="1078" y="620"/>
                  </a:lnTo>
                  <a:lnTo>
                    <a:pt x="1072" y="640"/>
                  </a:lnTo>
                  <a:lnTo>
                    <a:pt x="1065" y="660"/>
                  </a:lnTo>
                  <a:lnTo>
                    <a:pt x="1057" y="681"/>
                  </a:lnTo>
                  <a:lnTo>
                    <a:pt x="1049" y="701"/>
                  </a:lnTo>
                  <a:lnTo>
                    <a:pt x="1040" y="722"/>
                  </a:lnTo>
                  <a:lnTo>
                    <a:pt x="1030" y="741"/>
                  </a:lnTo>
                  <a:lnTo>
                    <a:pt x="1020" y="762"/>
                  </a:lnTo>
                  <a:lnTo>
                    <a:pt x="1009" y="782"/>
                  </a:lnTo>
                  <a:lnTo>
                    <a:pt x="985" y="822"/>
                  </a:lnTo>
                  <a:lnTo>
                    <a:pt x="959" y="862"/>
                  </a:lnTo>
                  <a:lnTo>
                    <a:pt x="932" y="900"/>
                  </a:lnTo>
                  <a:lnTo>
                    <a:pt x="903" y="938"/>
                  </a:lnTo>
                  <a:close/>
                </a:path>
              </a:pathLst>
            </a:custGeom>
            <a:solidFill>
              <a:srgbClr val="F08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auto">
            <a:xfrm>
              <a:off x="6966520" y="1831778"/>
              <a:ext cx="219075" cy="196850"/>
            </a:xfrm>
            <a:custGeom>
              <a:avLst/>
              <a:gdLst>
                <a:gd name="T0" fmla="*/ 127 w 966"/>
                <a:gd name="T1" fmla="*/ 130 h 872"/>
                <a:gd name="T2" fmla="*/ 69 w 966"/>
                <a:gd name="T3" fmla="*/ 202 h 872"/>
                <a:gd name="T4" fmla="*/ 28 w 966"/>
                <a:gd name="T5" fmla="*/ 287 h 872"/>
                <a:gd name="T6" fmla="*/ 5 w 966"/>
                <a:gd name="T7" fmla="*/ 379 h 872"/>
                <a:gd name="T8" fmla="*/ 1 w 966"/>
                <a:gd name="T9" fmla="*/ 472 h 872"/>
                <a:gd name="T10" fmla="*/ 16 w 966"/>
                <a:gd name="T11" fmla="*/ 564 h 872"/>
                <a:gd name="T12" fmla="*/ 50 w 966"/>
                <a:gd name="T13" fmla="*/ 648 h 872"/>
                <a:gd name="T14" fmla="*/ 103 w 966"/>
                <a:gd name="T15" fmla="*/ 720 h 872"/>
                <a:gd name="T16" fmla="*/ 176 w 966"/>
                <a:gd name="T17" fmla="*/ 779 h 872"/>
                <a:gd name="T18" fmla="*/ 259 w 966"/>
                <a:gd name="T19" fmla="*/ 825 h 872"/>
                <a:gd name="T20" fmla="*/ 348 w 966"/>
                <a:gd name="T21" fmla="*/ 855 h 872"/>
                <a:gd name="T22" fmla="*/ 440 w 966"/>
                <a:gd name="T23" fmla="*/ 871 h 872"/>
                <a:gd name="T24" fmla="*/ 530 w 966"/>
                <a:gd name="T25" fmla="*/ 869 h 872"/>
                <a:gd name="T26" fmla="*/ 616 w 966"/>
                <a:gd name="T27" fmla="*/ 850 h 872"/>
                <a:gd name="T28" fmla="*/ 695 w 966"/>
                <a:gd name="T29" fmla="*/ 811 h 872"/>
                <a:gd name="T30" fmla="*/ 763 w 966"/>
                <a:gd name="T31" fmla="*/ 752 h 872"/>
                <a:gd name="T32" fmla="*/ 860 w 966"/>
                <a:gd name="T33" fmla="*/ 618 h 872"/>
                <a:gd name="T34" fmla="*/ 915 w 966"/>
                <a:gd name="T35" fmla="*/ 518 h 872"/>
                <a:gd name="T36" fmla="*/ 947 w 966"/>
                <a:gd name="T37" fmla="*/ 436 h 872"/>
                <a:gd name="T38" fmla="*/ 964 w 966"/>
                <a:gd name="T39" fmla="*/ 355 h 872"/>
                <a:gd name="T40" fmla="*/ 964 w 966"/>
                <a:gd name="T41" fmla="*/ 277 h 872"/>
                <a:gd name="T42" fmla="*/ 945 w 966"/>
                <a:gd name="T43" fmla="*/ 201 h 872"/>
                <a:gd name="T44" fmla="*/ 903 w 966"/>
                <a:gd name="T45" fmla="*/ 130 h 872"/>
                <a:gd name="T46" fmla="*/ 835 w 966"/>
                <a:gd name="T47" fmla="*/ 69 h 872"/>
                <a:gd name="T48" fmla="*/ 751 w 966"/>
                <a:gd name="T49" fmla="*/ 28 h 872"/>
                <a:gd name="T50" fmla="*/ 654 w 966"/>
                <a:gd name="T51" fmla="*/ 5 h 872"/>
                <a:gd name="T52" fmla="*/ 551 w 966"/>
                <a:gd name="T53" fmla="*/ 0 h 872"/>
                <a:gd name="T54" fmla="*/ 448 w 966"/>
                <a:gd name="T55" fmla="*/ 5 h 872"/>
                <a:gd name="T56" fmla="*/ 351 w 966"/>
                <a:gd name="T57" fmla="*/ 22 h 872"/>
                <a:gd name="T58" fmla="*/ 264 w 966"/>
                <a:gd name="T59" fmla="*/ 47 h 872"/>
                <a:gd name="T60" fmla="*/ 196 w 966"/>
                <a:gd name="T61" fmla="*/ 78 h 872"/>
                <a:gd name="T62" fmla="*/ 689 w 966"/>
                <a:gd name="T63" fmla="*/ 654 h 872"/>
                <a:gd name="T64" fmla="*/ 632 w 966"/>
                <a:gd name="T65" fmla="*/ 704 h 872"/>
                <a:gd name="T66" fmla="*/ 570 w 966"/>
                <a:gd name="T67" fmla="*/ 738 h 872"/>
                <a:gd name="T68" fmla="*/ 505 w 966"/>
                <a:gd name="T69" fmla="*/ 757 h 872"/>
                <a:gd name="T70" fmla="*/ 437 w 966"/>
                <a:gd name="T71" fmla="*/ 763 h 872"/>
                <a:gd name="T72" fmla="*/ 370 w 966"/>
                <a:gd name="T73" fmla="*/ 755 h 872"/>
                <a:gd name="T74" fmla="*/ 306 w 966"/>
                <a:gd name="T75" fmla="*/ 736 h 872"/>
                <a:gd name="T76" fmla="*/ 247 w 966"/>
                <a:gd name="T77" fmla="*/ 706 h 872"/>
                <a:gd name="T78" fmla="*/ 195 w 966"/>
                <a:gd name="T79" fmla="*/ 667 h 872"/>
                <a:gd name="T80" fmla="*/ 157 w 966"/>
                <a:gd name="T81" fmla="*/ 617 h 872"/>
                <a:gd name="T82" fmla="*/ 135 w 966"/>
                <a:gd name="T83" fmla="*/ 556 h 872"/>
                <a:gd name="T84" fmla="*/ 127 w 966"/>
                <a:gd name="T85" fmla="*/ 491 h 872"/>
                <a:gd name="T86" fmla="*/ 134 w 966"/>
                <a:gd name="T87" fmla="*/ 420 h 872"/>
                <a:gd name="T88" fmla="*/ 156 w 966"/>
                <a:gd name="T89" fmla="*/ 351 h 872"/>
                <a:gd name="T90" fmla="*/ 192 w 966"/>
                <a:gd name="T91" fmla="*/ 285 h 872"/>
                <a:gd name="T92" fmla="*/ 241 w 966"/>
                <a:gd name="T93" fmla="*/ 226 h 872"/>
                <a:gd name="T94" fmla="*/ 311 w 966"/>
                <a:gd name="T95" fmla="*/ 174 h 872"/>
                <a:gd name="T96" fmla="*/ 429 w 966"/>
                <a:gd name="T97" fmla="*/ 127 h 872"/>
                <a:gd name="T98" fmla="*/ 550 w 966"/>
                <a:gd name="T99" fmla="*/ 109 h 872"/>
                <a:gd name="T100" fmla="*/ 619 w 966"/>
                <a:gd name="T101" fmla="*/ 112 h 872"/>
                <a:gd name="T102" fmla="*/ 684 w 966"/>
                <a:gd name="T103" fmla="*/ 126 h 872"/>
                <a:gd name="T104" fmla="*/ 741 w 966"/>
                <a:gd name="T105" fmla="*/ 154 h 872"/>
                <a:gd name="T106" fmla="*/ 786 w 966"/>
                <a:gd name="T107" fmla="*/ 196 h 872"/>
                <a:gd name="T108" fmla="*/ 818 w 966"/>
                <a:gd name="T109" fmla="*/ 245 h 872"/>
                <a:gd name="T110" fmla="*/ 835 w 966"/>
                <a:gd name="T111" fmla="*/ 297 h 872"/>
                <a:gd name="T112" fmla="*/ 839 w 966"/>
                <a:gd name="T113" fmla="*/ 353 h 872"/>
                <a:gd name="T114" fmla="*/ 831 w 966"/>
                <a:gd name="T115" fmla="*/ 411 h 872"/>
                <a:gd name="T116" fmla="*/ 803 w 966"/>
                <a:gd name="T117" fmla="*/ 485 h 872"/>
                <a:gd name="T118" fmla="*/ 727 w 966"/>
                <a:gd name="T119" fmla="*/ 608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6" h="872">
                  <a:moveTo>
                    <a:pt x="182" y="86"/>
                  </a:moveTo>
                  <a:lnTo>
                    <a:pt x="163" y="100"/>
                  </a:lnTo>
                  <a:lnTo>
                    <a:pt x="144" y="114"/>
                  </a:lnTo>
                  <a:lnTo>
                    <a:pt x="127" y="130"/>
                  </a:lnTo>
                  <a:lnTo>
                    <a:pt x="111" y="146"/>
                  </a:lnTo>
                  <a:lnTo>
                    <a:pt x="95" y="164"/>
                  </a:lnTo>
                  <a:lnTo>
                    <a:pt x="82" y="183"/>
                  </a:lnTo>
                  <a:lnTo>
                    <a:pt x="69" y="202"/>
                  </a:lnTo>
                  <a:lnTo>
                    <a:pt x="57" y="222"/>
                  </a:lnTo>
                  <a:lnTo>
                    <a:pt x="46" y="244"/>
                  </a:lnTo>
                  <a:lnTo>
                    <a:pt x="36" y="266"/>
                  </a:lnTo>
                  <a:lnTo>
                    <a:pt x="28" y="287"/>
                  </a:lnTo>
                  <a:lnTo>
                    <a:pt x="20" y="310"/>
                  </a:lnTo>
                  <a:lnTo>
                    <a:pt x="14" y="333"/>
                  </a:lnTo>
                  <a:lnTo>
                    <a:pt x="9" y="355"/>
                  </a:lnTo>
                  <a:lnTo>
                    <a:pt x="5" y="379"/>
                  </a:lnTo>
                  <a:lnTo>
                    <a:pt x="2" y="402"/>
                  </a:lnTo>
                  <a:lnTo>
                    <a:pt x="1" y="426"/>
                  </a:lnTo>
                  <a:lnTo>
                    <a:pt x="0" y="450"/>
                  </a:lnTo>
                  <a:lnTo>
                    <a:pt x="1" y="472"/>
                  </a:lnTo>
                  <a:lnTo>
                    <a:pt x="3" y="496"/>
                  </a:lnTo>
                  <a:lnTo>
                    <a:pt x="5" y="519"/>
                  </a:lnTo>
                  <a:lnTo>
                    <a:pt x="10" y="542"/>
                  </a:lnTo>
                  <a:lnTo>
                    <a:pt x="16" y="564"/>
                  </a:lnTo>
                  <a:lnTo>
                    <a:pt x="22" y="586"/>
                  </a:lnTo>
                  <a:lnTo>
                    <a:pt x="30" y="608"/>
                  </a:lnTo>
                  <a:lnTo>
                    <a:pt x="39" y="628"/>
                  </a:lnTo>
                  <a:lnTo>
                    <a:pt x="50" y="648"/>
                  </a:lnTo>
                  <a:lnTo>
                    <a:pt x="61" y="668"/>
                  </a:lnTo>
                  <a:lnTo>
                    <a:pt x="74" y="686"/>
                  </a:lnTo>
                  <a:lnTo>
                    <a:pt x="87" y="704"/>
                  </a:lnTo>
                  <a:lnTo>
                    <a:pt x="103" y="720"/>
                  </a:lnTo>
                  <a:lnTo>
                    <a:pt x="119" y="736"/>
                  </a:lnTo>
                  <a:lnTo>
                    <a:pt x="137" y="751"/>
                  </a:lnTo>
                  <a:lnTo>
                    <a:pt x="157" y="765"/>
                  </a:lnTo>
                  <a:lnTo>
                    <a:pt x="176" y="779"/>
                  </a:lnTo>
                  <a:lnTo>
                    <a:pt x="197" y="792"/>
                  </a:lnTo>
                  <a:lnTo>
                    <a:pt x="217" y="804"/>
                  </a:lnTo>
                  <a:lnTo>
                    <a:pt x="238" y="814"/>
                  </a:lnTo>
                  <a:lnTo>
                    <a:pt x="259" y="825"/>
                  </a:lnTo>
                  <a:lnTo>
                    <a:pt x="281" y="834"/>
                  </a:lnTo>
                  <a:lnTo>
                    <a:pt x="303" y="842"/>
                  </a:lnTo>
                  <a:lnTo>
                    <a:pt x="326" y="850"/>
                  </a:lnTo>
                  <a:lnTo>
                    <a:pt x="348" y="855"/>
                  </a:lnTo>
                  <a:lnTo>
                    <a:pt x="371" y="861"/>
                  </a:lnTo>
                  <a:lnTo>
                    <a:pt x="394" y="865"/>
                  </a:lnTo>
                  <a:lnTo>
                    <a:pt x="417" y="869"/>
                  </a:lnTo>
                  <a:lnTo>
                    <a:pt x="440" y="871"/>
                  </a:lnTo>
                  <a:lnTo>
                    <a:pt x="462" y="872"/>
                  </a:lnTo>
                  <a:lnTo>
                    <a:pt x="485" y="872"/>
                  </a:lnTo>
                  <a:lnTo>
                    <a:pt x="508" y="871"/>
                  </a:lnTo>
                  <a:lnTo>
                    <a:pt x="530" y="869"/>
                  </a:lnTo>
                  <a:lnTo>
                    <a:pt x="551" y="865"/>
                  </a:lnTo>
                  <a:lnTo>
                    <a:pt x="574" y="862"/>
                  </a:lnTo>
                  <a:lnTo>
                    <a:pt x="595" y="856"/>
                  </a:lnTo>
                  <a:lnTo>
                    <a:pt x="616" y="850"/>
                  </a:lnTo>
                  <a:lnTo>
                    <a:pt x="637" y="842"/>
                  </a:lnTo>
                  <a:lnTo>
                    <a:pt x="656" y="832"/>
                  </a:lnTo>
                  <a:lnTo>
                    <a:pt x="677" y="822"/>
                  </a:lnTo>
                  <a:lnTo>
                    <a:pt x="695" y="811"/>
                  </a:lnTo>
                  <a:lnTo>
                    <a:pt x="713" y="797"/>
                  </a:lnTo>
                  <a:lnTo>
                    <a:pt x="730" y="784"/>
                  </a:lnTo>
                  <a:lnTo>
                    <a:pt x="747" y="768"/>
                  </a:lnTo>
                  <a:lnTo>
                    <a:pt x="763" y="752"/>
                  </a:lnTo>
                  <a:lnTo>
                    <a:pt x="778" y="734"/>
                  </a:lnTo>
                  <a:lnTo>
                    <a:pt x="807" y="696"/>
                  </a:lnTo>
                  <a:lnTo>
                    <a:pt x="834" y="658"/>
                  </a:lnTo>
                  <a:lnTo>
                    <a:pt x="860" y="618"/>
                  </a:lnTo>
                  <a:lnTo>
                    <a:pt x="884" y="578"/>
                  </a:lnTo>
                  <a:lnTo>
                    <a:pt x="895" y="558"/>
                  </a:lnTo>
                  <a:lnTo>
                    <a:pt x="905" y="537"/>
                  </a:lnTo>
                  <a:lnTo>
                    <a:pt x="915" y="518"/>
                  </a:lnTo>
                  <a:lnTo>
                    <a:pt x="924" y="497"/>
                  </a:lnTo>
                  <a:lnTo>
                    <a:pt x="932" y="477"/>
                  </a:lnTo>
                  <a:lnTo>
                    <a:pt x="940" y="456"/>
                  </a:lnTo>
                  <a:lnTo>
                    <a:pt x="947" y="436"/>
                  </a:lnTo>
                  <a:lnTo>
                    <a:pt x="953" y="416"/>
                  </a:lnTo>
                  <a:lnTo>
                    <a:pt x="957" y="395"/>
                  </a:lnTo>
                  <a:lnTo>
                    <a:pt x="962" y="376"/>
                  </a:lnTo>
                  <a:lnTo>
                    <a:pt x="964" y="355"/>
                  </a:lnTo>
                  <a:lnTo>
                    <a:pt x="966" y="336"/>
                  </a:lnTo>
                  <a:lnTo>
                    <a:pt x="966" y="316"/>
                  </a:lnTo>
                  <a:lnTo>
                    <a:pt x="966" y="296"/>
                  </a:lnTo>
                  <a:lnTo>
                    <a:pt x="964" y="277"/>
                  </a:lnTo>
                  <a:lnTo>
                    <a:pt x="962" y="258"/>
                  </a:lnTo>
                  <a:lnTo>
                    <a:pt x="957" y="238"/>
                  </a:lnTo>
                  <a:lnTo>
                    <a:pt x="952" y="220"/>
                  </a:lnTo>
                  <a:lnTo>
                    <a:pt x="945" y="201"/>
                  </a:lnTo>
                  <a:lnTo>
                    <a:pt x="937" y="183"/>
                  </a:lnTo>
                  <a:lnTo>
                    <a:pt x="926" y="164"/>
                  </a:lnTo>
                  <a:lnTo>
                    <a:pt x="915" y="147"/>
                  </a:lnTo>
                  <a:lnTo>
                    <a:pt x="903" y="130"/>
                  </a:lnTo>
                  <a:lnTo>
                    <a:pt x="888" y="113"/>
                  </a:lnTo>
                  <a:lnTo>
                    <a:pt x="872" y="97"/>
                  </a:lnTo>
                  <a:lnTo>
                    <a:pt x="853" y="83"/>
                  </a:lnTo>
                  <a:lnTo>
                    <a:pt x="835" y="69"/>
                  </a:lnTo>
                  <a:lnTo>
                    <a:pt x="816" y="57"/>
                  </a:lnTo>
                  <a:lnTo>
                    <a:pt x="795" y="46"/>
                  </a:lnTo>
                  <a:lnTo>
                    <a:pt x="774" y="37"/>
                  </a:lnTo>
                  <a:lnTo>
                    <a:pt x="751" y="28"/>
                  </a:lnTo>
                  <a:lnTo>
                    <a:pt x="727" y="21"/>
                  </a:lnTo>
                  <a:lnTo>
                    <a:pt x="703" y="14"/>
                  </a:lnTo>
                  <a:lnTo>
                    <a:pt x="679" y="10"/>
                  </a:lnTo>
                  <a:lnTo>
                    <a:pt x="654" y="5"/>
                  </a:lnTo>
                  <a:lnTo>
                    <a:pt x="629" y="3"/>
                  </a:lnTo>
                  <a:lnTo>
                    <a:pt x="603" y="1"/>
                  </a:lnTo>
                  <a:lnTo>
                    <a:pt x="576" y="0"/>
                  </a:lnTo>
                  <a:lnTo>
                    <a:pt x="551" y="0"/>
                  </a:lnTo>
                  <a:lnTo>
                    <a:pt x="525" y="0"/>
                  </a:lnTo>
                  <a:lnTo>
                    <a:pt x="499" y="1"/>
                  </a:lnTo>
                  <a:lnTo>
                    <a:pt x="474" y="3"/>
                  </a:lnTo>
                  <a:lnTo>
                    <a:pt x="448" y="5"/>
                  </a:lnTo>
                  <a:lnTo>
                    <a:pt x="423" y="9"/>
                  </a:lnTo>
                  <a:lnTo>
                    <a:pt x="399" y="13"/>
                  </a:lnTo>
                  <a:lnTo>
                    <a:pt x="374" y="18"/>
                  </a:lnTo>
                  <a:lnTo>
                    <a:pt x="351" y="22"/>
                  </a:lnTo>
                  <a:lnTo>
                    <a:pt x="328" y="28"/>
                  </a:lnTo>
                  <a:lnTo>
                    <a:pt x="306" y="34"/>
                  </a:lnTo>
                  <a:lnTo>
                    <a:pt x="285" y="41"/>
                  </a:lnTo>
                  <a:lnTo>
                    <a:pt x="264" y="47"/>
                  </a:lnTo>
                  <a:lnTo>
                    <a:pt x="246" y="54"/>
                  </a:lnTo>
                  <a:lnTo>
                    <a:pt x="228" y="62"/>
                  </a:lnTo>
                  <a:lnTo>
                    <a:pt x="212" y="70"/>
                  </a:lnTo>
                  <a:lnTo>
                    <a:pt x="196" y="78"/>
                  </a:lnTo>
                  <a:lnTo>
                    <a:pt x="182" y="86"/>
                  </a:lnTo>
                  <a:close/>
                  <a:moveTo>
                    <a:pt x="703" y="638"/>
                  </a:moveTo>
                  <a:lnTo>
                    <a:pt x="703" y="638"/>
                  </a:lnTo>
                  <a:lnTo>
                    <a:pt x="689" y="654"/>
                  </a:lnTo>
                  <a:lnTo>
                    <a:pt x="676" y="668"/>
                  </a:lnTo>
                  <a:lnTo>
                    <a:pt x="662" y="680"/>
                  </a:lnTo>
                  <a:lnTo>
                    <a:pt x="647" y="693"/>
                  </a:lnTo>
                  <a:lnTo>
                    <a:pt x="632" y="704"/>
                  </a:lnTo>
                  <a:lnTo>
                    <a:pt x="617" y="713"/>
                  </a:lnTo>
                  <a:lnTo>
                    <a:pt x="602" y="722"/>
                  </a:lnTo>
                  <a:lnTo>
                    <a:pt x="586" y="730"/>
                  </a:lnTo>
                  <a:lnTo>
                    <a:pt x="570" y="738"/>
                  </a:lnTo>
                  <a:lnTo>
                    <a:pt x="554" y="744"/>
                  </a:lnTo>
                  <a:lnTo>
                    <a:pt x="538" y="750"/>
                  </a:lnTo>
                  <a:lnTo>
                    <a:pt x="521" y="754"/>
                  </a:lnTo>
                  <a:lnTo>
                    <a:pt x="505" y="757"/>
                  </a:lnTo>
                  <a:lnTo>
                    <a:pt x="488" y="760"/>
                  </a:lnTo>
                  <a:lnTo>
                    <a:pt x="470" y="762"/>
                  </a:lnTo>
                  <a:lnTo>
                    <a:pt x="454" y="762"/>
                  </a:lnTo>
                  <a:lnTo>
                    <a:pt x="437" y="763"/>
                  </a:lnTo>
                  <a:lnTo>
                    <a:pt x="420" y="762"/>
                  </a:lnTo>
                  <a:lnTo>
                    <a:pt x="403" y="761"/>
                  </a:lnTo>
                  <a:lnTo>
                    <a:pt x="387" y="759"/>
                  </a:lnTo>
                  <a:lnTo>
                    <a:pt x="370" y="755"/>
                  </a:lnTo>
                  <a:lnTo>
                    <a:pt x="354" y="752"/>
                  </a:lnTo>
                  <a:lnTo>
                    <a:pt x="338" y="747"/>
                  </a:lnTo>
                  <a:lnTo>
                    <a:pt x="322" y="743"/>
                  </a:lnTo>
                  <a:lnTo>
                    <a:pt x="306" y="736"/>
                  </a:lnTo>
                  <a:lnTo>
                    <a:pt x="291" y="730"/>
                  </a:lnTo>
                  <a:lnTo>
                    <a:pt x="277" y="722"/>
                  </a:lnTo>
                  <a:lnTo>
                    <a:pt x="262" y="714"/>
                  </a:lnTo>
                  <a:lnTo>
                    <a:pt x="247" y="706"/>
                  </a:lnTo>
                  <a:lnTo>
                    <a:pt x="233" y="697"/>
                  </a:lnTo>
                  <a:lnTo>
                    <a:pt x="220" y="688"/>
                  </a:lnTo>
                  <a:lnTo>
                    <a:pt x="207" y="678"/>
                  </a:lnTo>
                  <a:lnTo>
                    <a:pt x="195" y="667"/>
                  </a:lnTo>
                  <a:lnTo>
                    <a:pt x="184" y="655"/>
                  </a:lnTo>
                  <a:lnTo>
                    <a:pt x="174" y="643"/>
                  </a:lnTo>
                  <a:lnTo>
                    <a:pt x="165" y="630"/>
                  </a:lnTo>
                  <a:lnTo>
                    <a:pt x="157" y="617"/>
                  </a:lnTo>
                  <a:lnTo>
                    <a:pt x="150" y="603"/>
                  </a:lnTo>
                  <a:lnTo>
                    <a:pt x="144" y="588"/>
                  </a:lnTo>
                  <a:lnTo>
                    <a:pt x="139" y="572"/>
                  </a:lnTo>
                  <a:lnTo>
                    <a:pt x="135" y="556"/>
                  </a:lnTo>
                  <a:lnTo>
                    <a:pt x="132" y="540"/>
                  </a:lnTo>
                  <a:lnTo>
                    <a:pt x="130" y="523"/>
                  </a:lnTo>
                  <a:lnTo>
                    <a:pt x="127" y="508"/>
                  </a:lnTo>
                  <a:lnTo>
                    <a:pt x="127" y="491"/>
                  </a:lnTo>
                  <a:lnTo>
                    <a:pt x="127" y="472"/>
                  </a:lnTo>
                  <a:lnTo>
                    <a:pt x="130" y="455"/>
                  </a:lnTo>
                  <a:lnTo>
                    <a:pt x="132" y="438"/>
                  </a:lnTo>
                  <a:lnTo>
                    <a:pt x="134" y="420"/>
                  </a:lnTo>
                  <a:lnTo>
                    <a:pt x="139" y="403"/>
                  </a:lnTo>
                  <a:lnTo>
                    <a:pt x="143" y="385"/>
                  </a:lnTo>
                  <a:lnTo>
                    <a:pt x="149" y="368"/>
                  </a:lnTo>
                  <a:lnTo>
                    <a:pt x="156" y="351"/>
                  </a:lnTo>
                  <a:lnTo>
                    <a:pt x="164" y="334"/>
                  </a:lnTo>
                  <a:lnTo>
                    <a:pt x="172" y="317"/>
                  </a:lnTo>
                  <a:lnTo>
                    <a:pt x="182" y="301"/>
                  </a:lnTo>
                  <a:lnTo>
                    <a:pt x="192" y="285"/>
                  </a:lnTo>
                  <a:lnTo>
                    <a:pt x="202" y="269"/>
                  </a:lnTo>
                  <a:lnTo>
                    <a:pt x="215" y="254"/>
                  </a:lnTo>
                  <a:lnTo>
                    <a:pt x="228" y="239"/>
                  </a:lnTo>
                  <a:lnTo>
                    <a:pt x="241" y="226"/>
                  </a:lnTo>
                  <a:lnTo>
                    <a:pt x="256" y="212"/>
                  </a:lnTo>
                  <a:lnTo>
                    <a:pt x="271" y="200"/>
                  </a:lnTo>
                  <a:lnTo>
                    <a:pt x="288" y="188"/>
                  </a:lnTo>
                  <a:lnTo>
                    <a:pt x="311" y="174"/>
                  </a:lnTo>
                  <a:lnTo>
                    <a:pt x="337" y="160"/>
                  </a:lnTo>
                  <a:lnTo>
                    <a:pt x="366" y="147"/>
                  </a:lnTo>
                  <a:lnTo>
                    <a:pt x="396" y="137"/>
                  </a:lnTo>
                  <a:lnTo>
                    <a:pt x="429" y="127"/>
                  </a:lnTo>
                  <a:lnTo>
                    <a:pt x="462" y="119"/>
                  </a:lnTo>
                  <a:lnTo>
                    <a:pt x="498" y="113"/>
                  </a:lnTo>
                  <a:lnTo>
                    <a:pt x="532" y="110"/>
                  </a:lnTo>
                  <a:lnTo>
                    <a:pt x="550" y="109"/>
                  </a:lnTo>
                  <a:lnTo>
                    <a:pt x="567" y="109"/>
                  </a:lnTo>
                  <a:lnTo>
                    <a:pt x="584" y="109"/>
                  </a:lnTo>
                  <a:lnTo>
                    <a:pt x="602" y="110"/>
                  </a:lnTo>
                  <a:lnTo>
                    <a:pt x="619" y="112"/>
                  </a:lnTo>
                  <a:lnTo>
                    <a:pt x="636" y="114"/>
                  </a:lnTo>
                  <a:lnTo>
                    <a:pt x="652" y="118"/>
                  </a:lnTo>
                  <a:lnTo>
                    <a:pt x="668" y="121"/>
                  </a:lnTo>
                  <a:lnTo>
                    <a:pt x="684" y="126"/>
                  </a:lnTo>
                  <a:lnTo>
                    <a:pt x="698" y="131"/>
                  </a:lnTo>
                  <a:lnTo>
                    <a:pt x="713" y="138"/>
                  </a:lnTo>
                  <a:lnTo>
                    <a:pt x="727" y="145"/>
                  </a:lnTo>
                  <a:lnTo>
                    <a:pt x="741" y="154"/>
                  </a:lnTo>
                  <a:lnTo>
                    <a:pt x="753" y="163"/>
                  </a:lnTo>
                  <a:lnTo>
                    <a:pt x="765" y="174"/>
                  </a:lnTo>
                  <a:lnTo>
                    <a:pt x="776" y="184"/>
                  </a:lnTo>
                  <a:lnTo>
                    <a:pt x="786" y="196"/>
                  </a:lnTo>
                  <a:lnTo>
                    <a:pt x="795" y="208"/>
                  </a:lnTo>
                  <a:lnTo>
                    <a:pt x="804" y="220"/>
                  </a:lnTo>
                  <a:lnTo>
                    <a:pt x="811" y="233"/>
                  </a:lnTo>
                  <a:lnTo>
                    <a:pt x="818" y="245"/>
                  </a:lnTo>
                  <a:lnTo>
                    <a:pt x="824" y="259"/>
                  </a:lnTo>
                  <a:lnTo>
                    <a:pt x="828" y="271"/>
                  </a:lnTo>
                  <a:lnTo>
                    <a:pt x="832" y="285"/>
                  </a:lnTo>
                  <a:lnTo>
                    <a:pt x="835" y="297"/>
                  </a:lnTo>
                  <a:lnTo>
                    <a:pt x="838" y="311"/>
                  </a:lnTo>
                  <a:lnTo>
                    <a:pt x="839" y="325"/>
                  </a:lnTo>
                  <a:lnTo>
                    <a:pt x="840" y="339"/>
                  </a:lnTo>
                  <a:lnTo>
                    <a:pt x="839" y="353"/>
                  </a:lnTo>
                  <a:lnTo>
                    <a:pt x="839" y="368"/>
                  </a:lnTo>
                  <a:lnTo>
                    <a:pt x="836" y="381"/>
                  </a:lnTo>
                  <a:lnTo>
                    <a:pt x="834" y="396"/>
                  </a:lnTo>
                  <a:lnTo>
                    <a:pt x="831" y="411"/>
                  </a:lnTo>
                  <a:lnTo>
                    <a:pt x="826" y="426"/>
                  </a:lnTo>
                  <a:lnTo>
                    <a:pt x="822" y="441"/>
                  </a:lnTo>
                  <a:lnTo>
                    <a:pt x="816" y="455"/>
                  </a:lnTo>
                  <a:lnTo>
                    <a:pt x="803" y="485"/>
                  </a:lnTo>
                  <a:lnTo>
                    <a:pt x="789" y="515"/>
                  </a:lnTo>
                  <a:lnTo>
                    <a:pt x="770" y="546"/>
                  </a:lnTo>
                  <a:lnTo>
                    <a:pt x="750" y="577"/>
                  </a:lnTo>
                  <a:lnTo>
                    <a:pt x="727" y="608"/>
                  </a:lnTo>
                  <a:lnTo>
                    <a:pt x="703" y="638"/>
                  </a:lnTo>
                  <a:close/>
                </a:path>
              </a:pathLst>
            </a:custGeom>
            <a:solidFill>
              <a:srgbClr val="FDD7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9" name="Freeform 12"/>
            <p:cNvSpPr>
              <a:spLocks/>
            </p:cNvSpPr>
            <p:nvPr/>
          </p:nvSpPr>
          <p:spPr bwMode="auto">
            <a:xfrm>
              <a:off x="6995095" y="1855591"/>
              <a:ext cx="161925" cy="149225"/>
            </a:xfrm>
            <a:custGeom>
              <a:avLst/>
              <a:gdLst>
                <a:gd name="T0" fmla="*/ 144 w 713"/>
                <a:gd name="T1" fmla="*/ 91 h 654"/>
                <a:gd name="T2" fmla="*/ 114 w 713"/>
                <a:gd name="T3" fmla="*/ 117 h 654"/>
                <a:gd name="T4" fmla="*/ 88 w 713"/>
                <a:gd name="T5" fmla="*/ 145 h 654"/>
                <a:gd name="T6" fmla="*/ 65 w 713"/>
                <a:gd name="T7" fmla="*/ 176 h 654"/>
                <a:gd name="T8" fmla="*/ 45 w 713"/>
                <a:gd name="T9" fmla="*/ 208 h 654"/>
                <a:gd name="T10" fmla="*/ 29 w 713"/>
                <a:gd name="T11" fmla="*/ 242 h 654"/>
                <a:gd name="T12" fmla="*/ 16 w 713"/>
                <a:gd name="T13" fmla="*/ 276 h 654"/>
                <a:gd name="T14" fmla="*/ 7 w 713"/>
                <a:gd name="T15" fmla="*/ 311 h 654"/>
                <a:gd name="T16" fmla="*/ 3 w 713"/>
                <a:gd name="T17" fmla="*/ 346 h 654"/>
                <a:gd name="T18" fmla="*/ 0 w 713"/>
                <a:gd name="T19" fmla="*/ 382 h 654"/>
                <a:gd name="T20" fmla="*/ 3 w 713"/>
                <a:gd name="T21" fmla="*/ 414 h 654"/>
                <a:gd name="T22" fmla="*/ 8 w 713"/>
                <a:gd name="T23" fmla="*/ 447 h 654"/>
                <a:gd name="T24" fmla="*/ 17 w 713"/>
                <a:gd name="T25" fmla="*/ 479 h 654"/>
                <a:gd name="T26" fmla="*/ 30 w 713"/>
                <a:gd name="T27" fmla="*/ 508 h 654"/>
                <a:gd name="T28" fmla="*/ 47 w 713"/>
                <a:gd name="T29" fmla="*/ 534 h 654"/>
                <a:gd name="T30" fmla="*/ 68 w 713"/>
                <a:gd name="T31" fmla="*/ 558 h 654"/>
                <a:gd name="T32" fmla="*/ 93 w 713"/>
                <a:gd name="T33" fmla="*/ 579 h 654"/>
                <a:gd name="T34" fmla="*/ 120 w 713"/>
                <a:gd name="T35" fmla="*/ 597 h 654"/>
                <a:gd name="T36" fmla="*/ 150 w 713"/>
                <a:gd name="T37" fmla="*/ 613 h 654"/>
                <a:gd name="T38" fmla="*/ 179 w 713"/>
                <a:gd name="T39" fmla="*/ 627 h 654"/>
                <a:gd name="T40" fmla="*/ 211 w 713"/>
                <a:gd name="T41" fmla="*/ 638 h 654"/>
                <a:gd name="T42" fmla="*/ 243 w 713"/>
                <a:gd name="T43" fmla="*/ 646 h 654"/>
                <a:gd name="T44" fmla="*/ 276 w 713"/>
                <a:gd name="T45" fmla="*/ 652 h 654"/>
                <a:gd name="T46" fmla="*/ 310 w 713"/>
                <a:gd name="T47" fmla="*/ 654 h 654"/>
                <a:gd name="T48" fmla="*/ 343 w 713"/>
                <a:gd name="T49" fmla="*/ 653 h 654"/>
                <a:gd name="T50" fmla="*/ 378 w 713"/>
                <a:gd name="T51" fmla="*/ 648 h 654"/>
                <a:gd name="T52" fmla="*/ 411 w 713"/>
                <a:gd name="T53" fmla="*/ 641 h 654"/>
                <a:gd name="T54" fmla="*/ 443 w 713"/>
                <a:gd name="T55" fmla="*/ 629 h 654"/>
                <a:gd name="T56" fmla="*/ 475 w 713"/>
                <a:gd name="T57" fmla="*/ 613 h 654"/>
                <a:gd name="T58" fmla="*/ 505 w 713"/>
                <a:gd name="T59" fmla="*/ 595 h 654"/>
                <a:gd name="T60" fmla="*/ 535 w 713"/>
                <a:gd name="T61" fmla="*/ 571 h 654"/>
                <a:gd name="T62" fmla="*/ 562 w 713"/>
                <a:gd name="T63" fmla="*/ 545 h 654"/>
                <a:gd name="T64" fmla="*/ 600 w 713"/>
                <a:gd name="T65" fmla="*/ 499 h 654"/>
                <a:gd name="T66" fmla="*/ 643 w 713"/>
                <a:gd name="T67" fmla="*/ 437 h 654"/>
                <a:gd name="T68" fmla="*/ 676 w 713"/>
                <a:gd name="T69" fmla="*/ 376 h 654"/>
                <a:gd name="T70" fmla="*/ 695 w 713"/>
                <a:gd name="T71" fmla="*/ 332 h 654"/>
                <a:gd name="T72" fmla="*/ 704 w 713"/>
                <a:gd name="T73" fmla="*/ 302 h 654"/>
                <a:gd name="T74" fmla="*/ 709 w 713"/>
                <a:gd name="T75" fmla="*/ 272 h 654"/>
                <a:gd name="T76" fmla="*/ 712 w 713"/>
                <a:gd name="T77" fmla="*/ 244 h 654"/>
                <a:gd name="T78" fmla="*/ 712 w 713"/>
                <a:gd name="T79" fmla="*/ 216 h 654"/>
                <a:gd name="T80" fmla="*/ 708 w 713"/>
                <a:gd name="T81" fmla="*/ 188 h 654"/>
                <a:gd name="T82" fmla="*/ 701 w 713"/>
                <a:gd name="T83" fmla="*/ 162 h 654"/>
                <a:gd name="T84" fmla="*/ 691 w 713"/>
                <a:gd name="T85" fmla="*/ 136 h 654"/>
                <a:gd name="T86" fmla="*/ 677 w 713"/>
                <a:gd name="T87" fmla="*/ 111 h 654"/>
                <a:gd name="T88" fmla="*/ 659 w 713"/>
                <a:gd name="T89" fmla="*/ 87 h 654"/>
                <a:gd name="T90" fmla="*/ 638 w 713"/>
                <a:gd name="T91" fmla="*/ 65 h 654"/>
                <a:gd name="T92" fmla="*/ 614 w 713"/>
                <a:gd name="T93" fmla="*/ 45 h 654"/>
                <a:gd name="T94" fmla="*/ 586 w 713"/>
                <a:gd name="T95" fmla="*/ 29 h 654"/>
                <a:gd name="T96" fmla="*/ 557 w 713"/>
                <a:gd name="T97" fmla="*/ 17 h 654"/>
                <a:gd name="T98" fmla="*/ 525 w 713"/>
                <a:gd name="T99" fmla="*/ 9 h 654"/>
                <a:gd name="T100" fmla="*/ 492 w 713"/>
                <a:gd name="T101" fmla="*/ 3 h 654"/>
                <a:gd name="T102" fmla="*/ 457 w 713"/>
                <a:gd name="T103" fmla="*/ 0 h 654"/>
                <a:gd name="T104" fmla="*/ 423 w 713"/>
                <a:gd name="T105" fmla="*/ 0 h 654"/>
                <a:gd name="T106" fmla="*/ 371 w 713"/>
                <a:gd name="T107" fmla="*/ 4 h 654"/>
                <a:gd name="T108" fmla="*/ 302 w 713"/>
                <a:gd name="T109" fmla="*/ 18 h 654"/>
                <a:gd name="T110" fmla="*/ 239 w 713"/>
                <a:gd name="T111" fmla="*/ 38 h 654"/>
                <a:gd name="T112" fmla="*/ 184 w 713"/>
                <a:gd name="T113" fmla="*/ 65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3" h="654">
                  <a:moveTo>
                    <a:pt x="161" y="79"/>
                  </a:moveTo>
                  <a:lnTo>
                    <a:pt x="144" y="91"/>
                  </a:lnTo>
                  <a:lnTo>
                    <a:pt x="129" y="103"/>
                  </a:lnTo>
                  <a:lnTo>
                    <a:pt x="114" y="117"/>
                  </a:lnTo>
                  <a:lnTo>
                    <a:pt x="101" y="130"/>
                  </a:lnTo>
                  <a:lnTo>
                    <a:pt x="88" y="145"/>
                  </a:lnTo>
                  <a:lnTo>
                    <a:pt x="75" y="160"/>
                  </a:lnTo>
                  <a:lnTo>
                    <a:pt x="65" y="176"/>
                  </a:lnTo>
                  <a:lnTo>
                    <a:pt x="55" y="192"/>
                  </a:lnTo>
                  <a:lnTo>
                    <a:pt x="45" y="208"/>
                  </a:lnTo>
                  <a:lnTo>
                    <a:pt x="37" y="225"/>
                  </a:lnTo>
                  <a:lnTo>
                    <a:pt x="29" y="242"/>
                  </a:lnTo>
                  <a:lnTo>
                    <a:pt x="22" y="259"/>
                  </a:lnTo>
                  <a:lnTo>
                    <a:pt x="16" y="276"/>
                  </a:lnTo>
                  <a:lnTo>
                    <a:pt x="12" y="294"/>
                  </a:lnTo>
                  <a:lnTo>
                    <a:pt x="7" y="311"/>
                  </a:lnTo>
                  <a:lnTo>
                    <a:pt x="5" y="329"/>
                  </a:lnTo>
                  <a:lnTo>
                    <a:pt x="3" y="346"/>
                  </a:lnTo>
                  <a:lnTo>
                    <a:pt x="0" y="363"/>
                  </a:lnTo>
                  <a:lnTo>
                    <a:pt x="0" y="382"/>
                  </a:lnTo>
                  <a:lnTo>
                    <a:pt x="0" y="399"/>
                  </a:lnTo>
                  <a:lnTo>
                    <a:pt x="3" y="414"/>
                  </a:lnTo>
                  <a:lnTo>
                    <a:pt x="5" y="431"/>
                  </a:lnTo>
                  <a:lnTo>
                    <a:pt x="8" y="447"/>
                  </a:lnTo>
                  <a:lnTo>
                    <a:pt x="12" y="463"/>
                  </a:lnTo>
                  <a:lnTo>
                    <a:pt x="17" y="479"/>
                  </a:lnTo>
                  <a:lnTo>
                    <a:pt x="23" y="494"/>
                  </a:lnTo>
                  <a:lnTo>
                    <a:pt x="30" y="508"/>
                  </a:lnTo>
                  <a:lnTo>
                    <a:pt x="38" y="521"/>
                  </a:lnTo>
                  <a:lnTo>
                    <a:pt x="47" y="534"/>
                  </a:lnTo>
                  <a:lnTo>
                    <a:pt x="57" y="546"/>
                  </a:lnTo>
                  <a:lnTo>
                    <a:pt x="68" y="558"/>
                  </a:lnTo>
                  <a:lnTo>
                    <a:pt x="80" y="569"/>
                  </a:lnTo>
                  <a:lnTo>
                    <a:pt x="93" y="579"/>
                  </a:lnTo>
                  <a:lnTo>
                    <a:pt x="106" y="588"/>
                  </a:lnTo>
                  <a:lnTo>
                    <a:pt x="120" y="597"/>
                  </a:lnTo>
                  <a:lnTo>
                    <a:pt x="135" y="605"/>
                  </a:lnTo>
                  <a:lnTo>
                    <a:pt x="150" y="613"/>
                  </a:lnTo>
                  <a:lnTo>
                    <a:pt x="164" y="621"/>
                  </a:lnTo>
                  <a:lnTo>
                    <a:pt x="179" y="627"/>
                  </a:lnTo>
                  <a:lnTo>
                    <a:pt x="195" y="634"/>
                  </a:lnTo>
                  <a:lnTo>
                    <a:pt x="211" y="638"/>
                  </a:lnTo>
                  <a:lnTo>
                    <a:pt x="227" y="643"/>
                  </a:lnTo>
                  <a:lnTo>
                    <a:pt x="243" y="646"/>
                  </a:lnTo>
                  <a:lnTo>
                    <a:pt x="260" y="650"/>
                  </a:lnTo>
                  <a:lnTo>
                    <a:pt x="276" y="652"/>
                  </a:lnTo>
                  <a:lnTo>
                    <a:pt x="293" y="653"/>
                  </a:lnTo>
                  <a:lnTo>
                    <a:pt x="310" y="654"/>
                  </a:lnTo>
                  <a:lnTo>
                    <a:pt x="327" y="653"/>
                  </a:lnTo>
                  <a:lnTo>
                    <a:pt x="343" y="653"/>
                  </a:lnTo>
                  <a:lnTo>
                    <a:pt x="361" y="651"/>
                  </a:lnTo>
                  <a:lnTo>
                    <a:pt x="378" y="648"/>
                  </a:lnTo>
                  <a:lnTo>
                    <a:pt x="394" y="645"/>
                  </a:lnTo>
                  <a:lnTo>
                    <a:pt x="411" y="641"/>
                  </a:lnTo>
                  <a:lnTo>
                    <a:pt x="427" y="635"/>
                  </a:lnTo>
                  <a:lnTo>
                    <a:pt x="443" y="629"/>
                  </a:lnTo>
                  <a:lnTo>
                    <a:pt x="459" y="621"/>
                  </a:lnTo>
                  <a:lnTo>
                    <a:pt x="475" y="613"/>
                  </a:lnTo>
                  <a:lnTo>
                    <a:pt x="490" y="604"/>
                  </a:lnTo>
                  <a:lnTo>
                    <a:pt x="505" y="595"/>
                  </a:lnTo>
                  <a:lnTo>
                    <a:pt x="520" y="584"/>
                  </a:lnTo>
                  <a:lnTo>
                    <a:pt x="535" y="571"/>
                  </a:lnTo>
                  <a:lnTo>
                    <a:pt x="549" y="559"/>
                  </a:lnTo>
                  <a:lnTo>
                    <a:pt x="562" y="545"/>
                  </a:lnTo>
                  <a:lnTo>
                    <a:pt x="576" y="529"/>
                  </a:lnTo>
                  <a:lnTo>
                    <a:pt x="600" y="499"/>
                  </a:lnTo>
                  <a:lnTo>
                    <a:pt x="623" y="468"/>
                  </a:lnTo>
                  <a:lnTo>
                    <a:pt x="643" y="437"/>
                  </a:lnTo>
                  <a:lnTo>
                    <a:pt x="662" y="406"/>
                  </a:lnTo>
                  <a:lnTo>
                    <a:pt x="676" y="376"/>
                  </a:lnTo>
                  <a:lnTo>
                    <a:pt x="689" y="346"/>
                  </a:lnTo>
                  <a:lnTo>
                    <a:pt x="695" y="332"/>
                  </a:lnTo>
                  <a:lnTo>
                    <a:pt x="699" y="317"/>
                  </a:lnTo>
                  <a:lnTo>
                    <a:pt x="704" y="302"/>
                  </a:lnTo>
                  <a:lnTo>
                    <a:pt x="707" y="287"/>
                  </a:lnTo>
                  <a:lnTo>
                    <a:pt x="709" y="272"/>
                  </a:lnTo>
                  <a:lnTo>
                    <a:pt x="712" y="259"/>
                  </a:lnTo>
                  <a:lnTo>
                    <a:pt x="712" y="244"/>
                  </a:lnTo>
                  <a:lnTo>
                    <a:pt x="713" y="230"/>
                  </a:lnTo>
                  <a:lnTo>
                    <a:pt x="712" y="216"/>
                  </a:lnTo>
                  <a:lnTo>
                    <a:pt x="711" y="202"/>
                  </a:lnTo>
                  <a:lnTo>
                    <a:pt x="708" y="188"/>
                  </a:lnTo>
                  <a:lnTo>
                    <a:pt x="705" y="176"/>
                  </a:lnTo>
                  <a:lnTo>
                    <a:pt x="701" y="162"/>
                  </a:lnTo>
                  <a:lnTo>
                    <a:pt x="697" y="150"/>
                  </a:lnTo>
                  <a:lnTo>
                    <a:pt x="691" y="136"/>
                  </a:lnTo>
                  <a:lnTo>
                    <a:pt x="684" y="124"/>
                  </a:lnTo>
                  <a:lnTo>
                    <a:pt x="677" y="111"/>
                  </a:lnTo>
                  <a:lnTo>
                    <a:pt x="668" y="99"/>
                  </a:lnTo>
                  <a:lnTo>
                    <a:pt x="659" y="87"/>
                  </a:lnTo>
                  <a:lnTo>
                    <a:pt x="649" y="75"/>
                  </a:lnTo>
                  <a:lnTo>
                    <a:pt x="638" y="65"/>
                  </a:lnTo>
                  <a:lnTo>
                    <a:pt x="626" y="54"/>
                  </a:lnTo>
                  <a:lnTo>
                    <a:pt x="614" y="45"/>
                  </a:lnTo>
                  <a:lnTo>
                    <a:pt x="600" y="36"/>
                  </a:lnTo>
                  <a:lnTo>
                    <a:pt x="586" y="29"/>
                  </a:lnTo>
                  <a:lnTo>
                    <a:pt x="571" y="22"/>
                  </a:lnTo>
                  <a:lnTo>
                    <a:pt x="557" y="17"/>
                  </a:lnTo>
                  <a:lnTo>
                    <a:pt x="541" y="12"/>
                  </a:lnTo>
                  <a:lnTo>
                    <a:pt x="525" y="9"/>
                  </a:lnTo>
                  <a:lnTo>
                    <a:pt x="509" y="5"/>
                  </a:lnTo>
                  <a:lnTo>
                    <a:pt x="492" y="3"/>
                  </a:lnTo>
                  <a:lnTo>
                    <a:pt x="475" y="1"/>
                  </a:lnTo>
                  <a:lnTo>
                    <a:pt x="457" y="0"/>
                  </a:lnTo>
                  <a:lnTo>
                    <a:pt x="440" y="0"/>
                  </a:lnTo>
                  <a:lnTo>
                    <a:pt x="423" y="0"/>
                  </a:lnTo>
                  <a:lnTo>
                    <a:pt x="405" y="1"/>
                  </a:lnTo>
                  <a:lnTo>
                    <a:pt x="371" y="4"/>
                  </a:lnTo>
                  <a:lnTo>
                    <a:pt x="335" y="10"/>
                  </a:lnTo>
                  <a:lnTo>
                    <a:pt x="302" y="18"/>
                  </a:lnTo>
                  <a:lnTo>
                    <a:pt x="269" y="28"/>
                  </a:lnTo>
                  <a:lnTo>
                    <a:pt x="239" y="38"/>
                  </a:lnTo>
                  <a:lnTo>
                    <a:pt x="210" y="51"/>
                  </a:lnTo>
                  <a:lnTo>
                    <a:pt x="184" y="65"/>
                  </a:lnTo>
                  <a:lnTo>
                    <a:pt x="161" y="79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0" name="Freeform 13"/>
            <p:cNvSpPr>
              <a:spLocks noEditPoints="1"/>
            </p:cNvSpPr>
            <p:nvPr/>
          </p:nvSpPr>
          <p:spPr bwMode="auto">
            <a:xfrm>
              <a:off x="7453883" y="1717478"/>
              <a:ext cx="892175" cy="425450"/>
            </a:xfrm>
            <a:custGeom>
              <a:avLst/>
              <a:gdLst>
                <a:gd name="T0" fmla="*/ 129 w 3933"/>
                <a:gd name="T1" fmla="*/ 1398 h 1874"/>
                <a:gd name="T2" fmla="*/ 927 w 3933"/>
                <a:gd name="T3" fmla="*/ 1637 h 1874"/>
                <a:gd name="T4" fmla="*/ 3807 w 3933"/>
                <a:gd name="T5" fmla="*/ 1806 h 1874"/>
                <a:gd name="T6" fmla="*/ 3840 w 3933"/>
                <a:gd name="T7" fmla="*/ 1671 h 1874"/>
                <a:gd name="T8" fmla="*/ 3533 w 3933"/>
                <a:gd name="T9" fmla="*/ 1869 h 1874"/>
                <a:gd name="T10" fmla="*/ 3450 w 3933"/>
                <a:gd name="T11" fmla="*/ 1715 h 1874"/>
                <a:gd name="T12" fmla="*/ 3395 w 3933"/>
                <a:gd name="T13" fmla="*/ 1745 h 1874"/>
                <a:gd name="T14" fmla="*/ 3089 w 3933"/>
                <a:gd name="T15" fmla="*/ 1864 h 1874"/>
                <a:gd name="T16" fmla="*/ 3064 w 3933"/>
                <a:gd name="T17" fmla="*/ 1763 h 1874"/>
                <a:gd name="T18" fmla="*/ 3083 w 3933"/>
                <a:gd name="T19" fmla="*/ 1697 h 1874"/>
                <a:gd name="T20" fmla="*/ 2799 w 3933"/>
                <a:gd name="T21" fmla="*/ 1871 h 1874"/>
                <a:gd name="T22" fmla="*/ 2809 w 3933"/>
                <a:gd name="T23" fmla="*/ 1681 h 1874"/>
                <a:gd name="T24" fmla="*/ 2567 w 3933"/>
                <a:gd name="T25" fmla="*/ 1679 h 1874"/>
                <a:gd name="T26" fmla="*/ 2619 w 3933"/>
                <a:gd name="T27" fmla="*/ 1678 h 1874"/>
                <a:gd name="T28" fmla="*/ 2461 w 3933"/>
                <a:gd name="T29" fmla="*/ 1783 h 1874"/>
                <a:gd name="T30" fmla="*/ 2486 w 3933"/>
                <a:gd name="T31" fmla="*/ 1690 h 1874"/>
                <a:gd name="T32" fmla="*/ 2293 w 3933"/>
                <a:gd name="T33" fmla="*/ 1691 h 1874"/>
                <a:gd name="T34" fmla="*/ 2331 w 3933"/>
                <a:gd name="T35" fmla="*/ 1666 h 1874"/>
                <a:gd name="T36" fmla="*/ 2049 w 3933"/>
                <a:gd name="T37" fmla="*/ 1871 h 1874"/>
                <a:gd name="T38" fmla="*/ 2005 w 3933"/>
                <a:gd name="T39" fmla="*/ 1672 h 1874"/>
                <a:gd name="T40" fmla="*/ 1747 w 3933"/>
                <a:gd name="T41" fmla="*/ 1649 h 1874"/>
                <a:gd name="T42" fmla="*/ 1550 w 3933"/>
                <a:gd name="T43" fmla="*/ 1867 h 1874"/>
                <a:gd name="T44" fmla="*/ 1446 w 3933"/>
                <a:gd name="T45" fmla="*/ 1873 h 1874"/>
                <a:gd name="T46" fmla="*/ 1476 w 3933"/>
                <a:gd name="T47" fmla="*/ 1644 h 1874"/>
                <a:gd name="T48" fmla="*/ 1470 w 3933"/>
                <a:gd name="T49" fmla="*/ 1833 h 1874"/>
                <a:gd name="T50" fmla="*/ 1208 w 3933"/>
                <a:gd name="T51" fmla="*/ 1640 h 1874"/>
                <a:gd name="T52" fmla="*/ 1219 w 3933"/>
                <a:gd name="T53" fmla="*/ 1810 h 1874"/>
                <a:gd name="T54" fmla="*/ 1131 w 3933"/>
                <a:gd name="T55" fmla="*/ 1637 h 1874"/>
                <a:gd name="T56" fmla="*/ 679 w 3933"/>
                <a:gd name="T57" fmla="*/ 1870 h 1874"/>
                <a:gd name="T58" fmla="*/ 399 w 3933"/>
                <a:gd name="T59" fmla="*/ 1870 h 1874"/>
                <a:gd name="T60" fmla="*/ 298 w 3933"/>
                <a:gd name="T61" fmla="*/ 1783 h 1874"/>
                <a:gd name="T62" fmla="*/ 323 w 3933"/>
                <a:gd name="T63" fmla="*/ 1690 h 1874"/>
                <a:gd name="T64" fmla="*/ 129 w 3933"/>
                <a:gd name="T65" fmla="*/ 1806 h 1874"/>
                <a:gd name="T66" fmla="*/ 95 w 3933"/>
                <a:gd name="T67" fmla="*/ 1671 h 1874"/>
                <a:gd name="T68" fmla="*/ 615 w 3933"/>
                <a:gd name="T69" fmla="*/ 590 h 1874"/>
                <a:gd name="T70" fmla="*/ 1070 w 3933"/>
                <a:gd name="T71" fmla="*/ 214 h 1874"/>
                <a:gd name="T72" fmla="*/ 871 w 3933"/>
                <a:gd name="T73" fmla="*/ 292 h 1874"/>
                <a:gd name="T74" fmla="*/ 2350 w 3933"/>
                <a:gd name="T75" fmla="*/ 163 h 1874"/>
                <a:gd name="T76" fmla="*/ 2647 w 3933"/>
                <a:gd name="T77" fmla="*/ 397 h 1874"/>
                <a:gd name="T78" fmla="*/ 2488 w 3933"/>
                <a:gd name="T79" fmla="*/ 241 h 1874"/>
                <a:gd name="T80" fmla="*/ 1957 w 3933"/>
                <a:gd name="T81" fmla="*/ 276 h 1874"/>
                <a:gd name="T82" fmla="*/ 1875 w 3933"/>
                <a:gd name="T83" fmla="*/ 385 h 1874"/>
                <a:gd name="T84" fmla="*/ 1308 w 3933"/>
                <a:gd name="T85" fmla="*/ 119 h 1874"/>
                <a:gd name="T86" fmla="*/ 1208 w 3933"/>
                <a:gd name="T87" fmla="*/ 38 h 1874"/>
                <a:gd name="T88" fmla="*/ 1410 w 3933"/>
                <a:gd name="T89" fmla="*/ 611 h 1874"/>
                <a:gd name="T90" fmla="*/ 1528 w 3933"/>
                <a:gd name="T91" fmla="*/ 344 h 1874"/>
                <a:gd name="T92" fmla="*/ 469 w 3933"/>
                <a:gd name="T93" fmla="*/ 84 h 1874"/>
                <a:gd name="T94" fmla="*/ 125 w 3933"/>
                <a:gd name="T95" fmla="*/ 608 h 1874"/>
                <a:gd name="T96" fmla="*/ 233 w 3933"/>
                <a:gd name="T97" fmla="*/ 502 h 1874"/>
                <a:gd name="T98" fmla="*/ 340 w 3933"/>
                <a:gd name="T99" fmla="*/ 233 h 1874"/>
                <a:gd name="T100" fmla="*/ 1623 w 3933"/>
                <a:gd name="T101" fmla="*/ 810 h 1874"/>
                <a:gd name="T102" fmla="*/ 1276 w 3933"/>
                <a:gd name="T103" fmla="*/ 1401 h 1874"/>
                <a:gd name="T104" fmla="*/ 2367 w 3933"/>
                <a:gd name="T105" fmla="*/ 819 h 1874"/>
                <a:gd name="T106" fmla="*/ 2608 w 3933"/>
                <a:gd name="T107" fmla="*/ 1404 h 1874"/>
                <a:gd name="T108" fmla="*/ 3447 w 3933"/>
                <a:gd name="T109" fmla="*/ 806 h 1874"/>
                <a:gd name="T110" fmla="*/ 3927 w 3933"/>
                <a:gd name="T111" fmla="*/ 1385 h 1874"/>
                <a:gd name="T112" fmla="*/ 2862 w 3933"/>
                <a:gd name="T113" fmla="*/ 818 h 1874"/>
                <a:gd name="T114" fmla="*/ 2134 w 3933"/>
                <a:gd name="T115" fmla="*/ 805 h 1874"/>
                <a:gd name="T116" fmla="*/ 2140 w 3933"/>
                <a:gd name="T117" fmla="*/ 913 h 1874"/>
                <a:gd name="T118" fmla="*/ 613 w 3933"/>
                <a:gd name="T119" fmla="*/ 842 h 1874"/>
                <a:gd name="T120" fmla="*/ 1064 w 3933"/>
                <a:gd name="T121" fmla="*/ 1052 h 1874"/>
                <a:gd name="T122" fmla="*/ 900 w 3933"/>
                <a:gd name="T123" fmla="*/ 1079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33" h="1874">
                  <a:moveTo>
                    <a:pt x="393" y="889"/>
                  </a:moveTo>
                  <a:lnTo>
                    <a:pt x="388" y="874"/>
                  </a:lnTo>
                  <a:lnTo>
                    <a:pt x="383" y="861"/>
                  </a:lnTo>
                  <a:lnTo>
                    <a:pt x="377" y="849"/>
                  </a:lnTo>
                  <a:lnTo>
                    <a:pt x="370" y="839"/>
                  </a:lnTo>
                  <a:lnTo>
                    <a:pt x="362" y="831"/>
                  </a:lnTo>
                  <a:lnTo>
                    <a:pt x="353" y="824"/>
                  </a:lnTo>
                  <a:lnTo>
                    <a:pt x="345" y="818"/>
                  </a:lnTo>
                  <a:lnTo>
                    <a:pt x="336" y="813"/>
                  </a:lnTo>
                  <a:lnTo>
                    <a:pt x="328" y="809"/>
                  </a:lnTo>
                  <a:lnTo>
                    <a:pt x="318" y="805"/>
                  </a:lnTo>
                  <a:lnTo>
                    <a:pt x="309" y="803"/>
                  </a:lnTo>
                  <a:lnTo>
                    <a:pt x="299" y="801"/>
                  </a:lnTo>
                  <a:lnTo>
                    <a:pt x="283" y="800"/>
                  </a:lnTo>
                  <a:lnTo>
                    <a:pt x="268" y="798"/>
                  </a:lnTo>
                  <a:lnTo>
                    <a:pt x="252" y="800"/>
                  </a:lnTo>
                  <a:lnTo>
                    <a:pt x="235" y="801"/>
                  </a:lnTo>
                  <a:lnTo>
                    <a:pt x="226" y="803"/>
                  </a:lnTo>
                  <a:lnTo>
                    <a:pt x="217" y="805"/>
                  </a:lnTo>
                  <a:lnTo>
                    <a:pt x="208" y="809"/>
                  </a:lnTo>
                  <a:lnTo>
                    <a:pt x="199" y="813"/>
                  </a:lnTo>
                  <a:lnTo>
                    <a:pt x="191" y="818"/>
                  </a:lnTo>
                  <a:lnTo>
                    <a:pt x="182" y="824"/>
                  </a:lnTo>
                  <a:lnTo>
                    <a:pt x="174" y="831"/>
                  </a:lnTo>
                  <a:lnTo>
                    <a:pt x="166" y="840"/>
                  </a:lnTo>
                  <a:lnTo>
                    <a:pt x="158" y="849"/>
                  </a:lnTo>
                  <a:lnTo>
                    <a:pt x="152" y="861"/>
                  </a:lnTo>
                  <a:lnTo>
                    <a:pt x="146" y="873"/>
                  </a:lnTo>
                  <a:lnTo>
                    <a:pt x="142" y="888"/>
                  </a:lnTo>
                  <a:lnTo>
                    <a:pt x="0" y="1382"/>
                  </a:lnTo>
                  <a:lnTo>
                    <a:pt x="2" y="1388"/>
                  </a:lnTo>
                  <a:lnTo>
                    <a:pt x="3" y="1393"/>
                  </a:lnTo>
                  <a:lnTo>
                    <a:pt x="5" y="1396"/>
                  </a:lnTo>
                  <a:lnTo>
                    <a:pt x="8" y="1398"/>
                  </a:lnTo>
                  <a:lnTo>
                    <a:pt x="11" y="1402"/>
                  </a:lnTo>
                  <a:lnTo>
                    <a:pt x="15" y="1403"/>
                  </a:lnTo>
                  <a:lnTo>
                    <a:pt x="19" y="1404"/>
                  </a:lnTo>
                  <a:lnTo>
                    <a:pt x="24" y="1404"/>
                  </a:lnTo>
                  <a:lnTo>
                    <a:pt x="114" y="1404"/>
                  </a:lnTo>
                  <a:lnTo>
                    <a:pt x="119" y="1404"/>
                  </a:lnTo>
                  <a:lnTo>
                    <a:pt x="122" y="1403"/>
                  </a:lnTo>
                  <a:lnTo>
                    <a:pt x="126" y="1401"/>
                  </a:lnTo>
                  <a:lnTo>
                    <a:pt x="129" y="1398"/>
                  </a:lnTo>
                  <a:lnTo>
                    <a:pt x="135" y="1393"/>
                  </a:lnTo>
                  <a:lnTo>
                    <a:pt x="137" y="1385"/>
                  </a:lnTo>
                  <a:lnTo>
                    <a:pt x="175" y="1263"/>
                  </a:lnTo>
                  <a:lnTo>
                    <a:pt x="360" y="1263"/>
                  </a:lnTo>
                  <a:lnTo>
                    <a:pt x="397" y="1385"/>
                  </a:lnTo>
                  <a:lnTo>
                    <a:pt x="401" y="1391"/>
                  </a:lnTo>
                  <a:lnTo>
                    <a:pt x="405" y="1398"/>
                  </a:lnTo>
                  <a:lnTo>
                    <a:pt x="409" y="1402"/>
                  </a:lnTo>
                  <a:lnTo>
                    <a:pt x="413" y="1403"/>
                  </a:lnTo>
                  <a:lnTo>
                    <a:pt x="417" y="1404"/>
                  </a:lnTo>
                  <a:lnTo>
                    <a:pt x="421" y="1404"/>
                  </a:lnTo>
                  <a:lnTo>
                    <a:pt x="511" y="1404"/>
                  </a:lnTo>
                  <a:lnTo>
                    <a:pt x="516" y="1404"/>
                  </a:lnTo>
                  <a:lnTo>
                    <a:pt x="520" y="1403"/>
                  </a:lnTo>
                  <a:lnTo>
                    <a:pt x="524" y="1402"/>
                  </a:lnTo>
                  <a:lnTo>
                    <a:pt x="526" y="1399"/>
                  </a:lnTo>
                  <a:lnTo>
                    <a:pt x="529" y="1397"/>
                  </a:lnTo>
                  <a:lnTo>
                    <a:pt x="532" y="1393"/>
                  </a:lnTo>
                  <a:lnTo>
                    <a:pt x="533" y="1388"/>
                  </a:lnTo>
                  <a:lnTo>
                    <a:pt x="534" y="1382"/>
                  </a:lnTo>
                  <a:lnTo>
                    <a:pt x="393" y="889"/>
                  </a:lnTo>
                  <a:close/>
                  <a:moveTo>
                    <a:pt x="768" y="1642"/>
                  </a:moveTo>
                  <a:lnTo>
                    <a:pt x="768" y="1639"/>
                  </a:lnTo>
                  <a:lnTo>
                    <a:pt x="769" y="1638"/>
                  </a:lnTo>
                  <a:lnTo>
                    <a:pt x="771" y="1637"/>
                  </a:lnTo>
                  <a:lnTo>
                    <a:pt x="773" y="1636"/>
                  </a:lnTo>
                  <a:lnTo>
                    <a:pt x="803" y="1636"/>
                  </a:lnTo>
                  <a:lnTo>
                    <a:pt x="805" y="1637"/>
                  </a:lnTo>
                  <a:lnTo>
                    <a:pt x="808" y="1638"/>
                  </a:lnTo>
                  <a:lnTo>
                    <a:pt x="809" y="1639"/>
                  </a:lnTo>
                  <a:lnTo>
                    <a:pt x="809" y="1642"/>
                  </a:lnTo>
                  <a:lnTo>
                    <a:pt x="809" y="1810"/>
                  </a:lnTo>
                  <a:lnTo>
                    <a:pt x="810" y="1811"/>
                  </a:lnTo>
                  <a:lnTo>
                    <a:pt x="811" y="1812"/>
                  </a:lnTo>
                  <a:lnTo>
                    <a:pt x="812" y="1812"/>
                  </a:lnTo>
                  <a:lnTo>
                    <a:pt x="813" y="1810"/>
                  </a:lnTo>
                  <a:lnTo>
                    <a:pt x="878" y="1646"/>
                  </a:lnTo>
                  <a:lnTo>
                    <a:pt x="881" y="1641"/>
                  </a:lnTo>
                  <a:lnTo>
                    <a:pt x="883" y="1638"/>
                  </a:lnTo>
                  <a:lnTo>
                    <a:pt x="886" y="1637"/>
                  </a:lnTo>
                  <a:lnTo>
                    <a:pt x="891" y="1636"/>
                  </a:lnTo>
                  <a:lnTo>
                    <a:pt x="923" y="1636"/>
                  </a:lnTo>
                  <a:lnTo>
                    <a:pt x="927" y="1637"/>
                  </a:lnTo>
                  <a:lnTo>
                    <a:pt x="932" y="1640"/>
                  </a:lnTo>
                  <a:lnTo>
                    <a:pt x="934" y="1644"/>
                  </a:lnTo>
                  <a:lnTo>
                    <a:pt x="935" y="1649"/>
                  </a:lnTo>
                  <a:lnTo>
                    <a:pt x="935" y="1865"/>
                  </a:lnTo>
                  <a:lnTo>
                    <a:pt x="934" y="1867"/>
                  </a:lnTo>
                  <a:lnTo>
                    <a:pt x="933" y="1870"/>
                  </a:lnTo>
                  <a:lnTo>
                    <a:pt x="932" y="1871"/>
                  </a:lnTo>
                  <a:lnTo>
                    <a:pt x="930" y="1872"/>
                  </a:lnTo>
                  <a:lnTo>
                    <a:pt x="899" y="1872"/>
                  </a:lnTo>
                  <a:lnTo>
                    <a:pt x="897" y="1871"/>
                  </a:lnTo>
                  <a:lnTo>
                    <a:pt x="895" y="1870"/>
                  </a:lnTo>
                  <a:lnTo>
                    <a:pt x="894" y="1867"/>
                  </a:lnTo>
                  <a:lnTo>
                    <a:pt x="893" y="1865"/>
                  </a:lnTo>
                  <a:lnTo>
                    <a:pt x="893" y="1706"/>
                  </a:lnTo>
                  <a:lnTo>
                    <a:pt x="893" y="1704"/>
                  </a:lnTo>
                  <a:lnTo>
                    <a:pt x="892" y="1704"/>
                  </a:lnTo>
                  <a:lnTo>
                    <a:pt x="891" y="1704"/>
                  </a:lnTo>
                  <a:lnTo>
                    <a:pt x="890" y="1706"/>
                  </a:lnTo>
                  <a:lnTo>
                    <a:pt x="828" y="1861"/>
                  </a:lnTo>
                  <a:lnTo>
                    <a:pt x="826" y="1864"/>
                  </a:lnTo>
                  <a:lnTo>
                    <a:pt x="824" y="1867"/>
                  </a:lnTo>
                  <a:lnTo>
                    <a:pt x="821" y="1869"/>
                  </a:lnTo>
                  <a:lnTo>
                    <a:pt x="819" y="1871"/>
                  </a:lnTo>
                  <a:lnTo>
                    <a:pt x="814" y="1871"/>
                  </a:lnTo>
                  <a:lnTo>
                    <a:pt x="810" y="1872"/>
                  </a:lnTo>
                  <a:lnTo>
                    <a:pt x="779" y="1872"/>
                  </a:lnTo>
                  <a:lnTo>
                    <a:pt x="775" y="1871"/>
                  </a:lnTo>
                  <a:lnTo>
                    <a:pt x="771" y="1869"/>
                  </a:lnTo>
                  <a:lnTo>
                    <a:pt x="768" y="1864"/>
                  </a:lnTo>
                  <a:lnTo>
                    <a:pt x="768" y="1859"/>
                  </a:lnTo>
                  <a:lnTo>
                    <a:pt x="768" y="1642"/>
                  </a:lnTo>
                  <a:close/>
                  <a:moveTo>
                    <a:pt x="3933" y="1866"/>
                  </a:moveTo>
                  <a:lnTo>
                    <a:pt x="3933" y="1869"/>
                  </a:lnTo>
                  <a:lnTo>
                    <a:pt x="3932" y="1870"/>
                  </a:lnTo>
                  <a:lnTo>
                    <a:pt x="3929" y="1871"/>
                  </a:lnTo>
                  <a:lnTo>
                    <a:pt x="3927" y="1871"/>
                  </a:lnTo>
                  <a:lnTo>
                    <a:pt x="3896" y="1871"/>
                  </a:lnTo>
                  <a:lnTo>
                    <a:pt x="3894" y="1871"/>
                  </a:lnTo>
                  <a:lnTo>
                    <a:pt x="3892" y="1870"/>
                  </a:lnTo>
                  <a:lnTo>
                    <a:pt x="3891" y="1869"/>
                  </a:lnTo>
                  <a:lnTo>
                    <a:pt x="3891" y="1866"/>
                  </a:lnTo>
                  <a:lnTo>
                    <a:pt x="3877" y="1806"/>
                  </a:lnTo>
                  <a:lnTo>
                    <a:pt x="3807" y="1806"/>
                  </a:lnTo>
                  <a:lnTo>
                    <a:pt x="3794" y="1866"/>
                  </a:lnTo>
                  <a:lnTo>
                    <a:pt x="3794" y="1869"/>
                  </a:lnTo>
                  <a:lnTo>
                    <a:pt x="3791" y="1870"/>
                  </a:lnTo>
                  <a:lnTo>
                    <a:pt x="3790" y="1871"/>
                  </a:lnTo>
                  <a:lnTo>
                    <a:pt x="3788" y="1871"/>
                  </a:lnTo>
                  <a:lnTo>
                    <a:pt x="3757" y="1871"/>
                  </a:lnTo>
                  <a:lnTo>
                    <a:pt x="3755" y="1871"/>
                  </a:lnTo>
                  <a:lnTo>
                    <a:pt x="3753" y="1870"/>
                  </a:lnTo>
                  <a:lnTo>
                    <a:pt x="3751" y="1869"/>
                  </a:lnTo>
                  <a:lnTo>
                    <a:pt x="3751" y="1866"/>
                  </a:lnTo>
                  <a:lnTo>
                    <a:pt x="3751" y="1865"/>
                  </a:lnTo>
                  <a:lnTo>
                    <a:pt x="3751" y="1865"/>
                  </a:lnTo>
                  <a:lnTo>
                    <a:pt x="3751" y="1865"/>
                  </a:lnTo>
                  <a:lnTo>
                    <a:pt x="3751" y="1864"/>
                  </a:lnTo>
                  <a:lnTo>
                    <a:pt x="3800" y="1666"/>
                  </a:lnTo>
                  <a:lnTo>
                    <a:pt x="3804" y="1656"/>
                  </a:lnTo>
                  <a:lnTo>
                    <a:pt x="3808" y="1649"/>
                  </a:lnTo>
                  <a:lnTo>
                    <a:pt x="3813" y="1644"/>
                  </a:lnTo>
                  <a:lnTo>
                    <a:pt x="3819" y="1639"/>
                  </a:lnTo>
                  <a:lnTo>
                    <a:pt x="3826" y="1637"/>
                  </a:lnTo>
                  <a:lnTo>
                    <a:pt x="3831" y="1635"/>
                  </a:lnTo>
                  <a:lnTo>
                    <a:pt x="3837" y="1635"/>
                  </a:lnTo>
                  <a:lnTo>
                    <a:pt x="3841" y="1633"/>
                  </a:lnTo>
                  <a:lnTo>
                    <a:pt x="3847" y="1635"/>
                  </a:lnTo>
                  <a:lnTo>
                    <a:pt x="3853" y="1635"/>
                  </a:lnTo>
                  <a:lnTo>
                    <a:pt x="3859" y="1637"/>
                  </a:lnTo>
                  <a:lnTo>
                    <a:pt x="3865" y="1639"/>
                  </a:lnTo>
                  <a:lnTo>
                    <a:pt x="3870" y="1644"/>
                  </a:lnTo>
                  <a:lnTo>
                    <a:pt x="3876" y="1649"/>
                  </a:lnTo>
                  <a:lnTo>
                    <a:pt x="3880" y="1656"/>
                  </a:lnTo>
                  <a:lnTo>
                    <a:pt x="3884" y="1666"/>
                  </a:lnTo>
                  <a:lnTo>
                    <a:pt x="3933" y="1864"/>
                  </a:lnTo>
                  <a:lnTo>
                    <a:pt x="3933" y="1865"/>
                  </a:lnTo>
                  <a:lnTo>
                    <a:pt x="3933" y="1865"/>
                  </a:lnTo>
                  <a:lnTo>
                    <a:pt x="3933" y="1865"/>
                  </a:lnTo>
                  <a:lnTo>
                    <a:pt x="3933" y="1866"/>
                  </a:lnTo>
                  <a:close/>
                  <a:moveTo>
                    <a:pt x="3847" y="1677"/>
                  </a:moveTo>
                  <a:lnTo>
                    <a:pt x="3847" y="1677"/>
                  </a:lnTo>
                  <a:lnTo>
                    <a:pt x="3846" y="1673"/>
                  </a:lnTo>
                  <a:lnTo>
                    <a:pt x="3845" y="1672"/>
                  </a:lnTo>
                  <a:lnTo>
                    <a:pt x="3844" y="1671"/>
                  </a:lnTo>
                  <a:lnTo>
                    <a:pt x="3841" y="1671"/>
                  </a:lnTo>
                  <a:lnTo>
                    <a:pt x="3840" y="1671"/>
                  </a:lnTo>
                  <a:lnTo>
                    <a:pt x="3839" y="1672"/>
                  </a:lnTo>
                  <a:lnTo>
                    <a:pt x="3838" y="1673"/>
                  </a:lnTo>
                  <a:lnTo>
                    <a:pt x="3837" y="1677"/>
                  </a:lnTo>
                  <a:lnTo>
                    <a:pt x="3815" y="1770"/>
                  </a:lnTo>
                  <a:lnTo>
                    <a:pt x="3868" y="1770"/>
                  </a:lnTo>
                  <a:lnTo>
                    <a:pt x="3847" y="1677"/>
                  </a:lnTo>
                  <a:close/>
                  <a:moveTo>
                    <a:pt x="3722" y="1871"/>
                  </a:moveTo>
                  <a:lnTo>
                    <a:pt x="3721" y="1871"/>
                  </a:lnTo>
                  <a:lnTo>
                    <a:pt x="3718" y="1871"/>
                  </a:lnTo>
                  <a:lnTo>
                    <a:pt x="3689" y="1871"/>
                  </a:lnTo>
                  <a:lnTo>
                    <a:pt x="3686" y="1871"/>
                  </a:lnTo>
                  <a:lnTo>
                    <a:pt x="3685" y="1870"/>
                  </a:lnTo>
                  <a:lnTo>
                    <a:pt x="3684" y="1867"/>
                  </a:lnTo>
                  <a:lnTo>
                    <a:pt x="3683" y="1865"/>
                  </a:lnTo>
                  <a:lnTo>
                    <a:pt x="3683" y="1719"/>
                  </a:lnTo>
                  <a:lnTo>
                    <a:pt x="3683" y="1715"/>
                  </a:lnTo>
                  <a:lnTo>
                    <a:pt x="3683" y="1715"/>
                  </a:lnTo>
                  <a:lnTo>
                    <a:pt x="3682" y="1715"/>
                  </a:lnTo>
                  <a:lnTo>
                    <a:pt x="3681" y="1716"/>
                  </a:lnTo>
                  <a:lnTo>
                    <a:pt x="3652" y="1778"/>
                  </a:lnTo>
                  <a:lnTo>
                    <a:pt x="3651" y="1780"/>
                  </a:lnTo>
                  <a:lnTo>
                    <a:pt x="3649" y="1781"/>
                  </a:lnTo>
                  <a:lnTo>
                    <a:pt x="3645" y="1782"/>
                  </a:lnTo>
                  <a:lnTo>
                    <a:pt x="3643" y="1782"/>
                  </a:lnTo>
                  <a:lnTo>
                    <a:pt x="3612" y="1782"/>
                  </a:lnTo>
                  <a:lnTo>
                    <a:pt x="3610" y="1782"/>
                  </a:lnTo>
                  <a:lnTo>
                    <a:pt x="3607" y="1781"/>
                  </a:lnTo>
                  <a:lnTo>
                    <a:pt x="3604" y="1780"/>
                  </a:lnTo>
                  <a:lnTo>
                    <a:pt x="3603" y="1778"/>
                  </a:lnTo>
                  <a:lnTo>
                    <a:pt x="3574" y="1716"/>
                  </a:lnTo>
                  <a:lnTo>
                    <a:pt x="3574" y="1715"/>
                  </a:lnTo>
                  <a:lnTo>
                    <a:pt x="3572" y="1715"/>
                  </a:lnTo>
                  <a:lnTo>
                    <a:pt x="3572" y="1715"/>
                  </a:lnTo>
                  <a:lnTo>
                    <a:pt x="3571" y="1719"/>
                  </a:lnTo>
                  <a:lnTo>
                    <a:pt x="3571" y="1865"/>
                  </a:lnTo>
                  <a:lnTo>
                    <a:pt x="3571" y="1867"/>
                  </a:lnTo>
                  <a:lnTo>
                    <a:pt x="3570" y="1870"/>
                  </a:lnTo>
                  <a:lnTo>
                    <a:pt x="3569" y="1871"/>
                  </a:lnTo>
                  <a:lnTo>
                    <a:pt x="3567" y="1871"/>
                  </a:lnTo>
                  <a:lnTo>
                    <a:pt x="3537" y="1871"/>
                  </a:lnTo>
                  <a:lnTo>
                    <a:pt x="3535" y="1871"/>
                  </a:lnTo>
                  <a:lnTo>
                    <a:pt x="3534" y="1871"/>
                  </a:lnTo>
                  <a:lnTo>
                    <a:pt x="3533" y="1869"/>
                  </a:lnTo>
                  <a:lnTo>
                    <a:pt x="3531" y="1866"/>
                  </a:lnTo>
                  <a:lnTo>
                    <a:pt x="3531" y="1649"/>
                  </a:lnTo>
                  <a:lnTo>
                    <a:pt x="3533" y="1645"/>
                  </a:lnTo>
                  <a:lnTo>
                    <a:pt x="3535" y="1640"/>
                  </a:lnTo>
                  <a:lnTo>
                    <a:pt x="3539" y="1638"/>
                  </a:lnTo>
                  <a:lnTo>
                    <a:pt x="3544" y="1637"/>
                  </a:lnTo>
                  <a:lnTo>
                    <a:pt x="3568" y="1637"/>
                  </a:lnTo>
                  <a:lnTo>
                    <a:pt x="3571" y="1637"/>
                  </a:lnTo>
                  <a:lnTo>
                    <a:pt x="3575" y="1639"/>
                  </a:lnTo>
                  <a:lnTo>
                    <a:pt x="3577" y="1641"/>
                  </a:lnTo>
                  <a:lnTo>
                    <a:pt x="3579" y="1644"/>
                  </a:lnTo>
                  <a:lnTo>
                    <a:pt x="3625" y="1741"/>
                  </a:lnTo>
                  <a:lnTo>
                    <a:pt x="3625" y="1742"/>
                  </a:lnTo>
                  <a:lnTo>
                    <a:pt x="3626" y="1744"/>
                  </a:lnTo>
                  <a:lnTo>
                    <a:pt x="3627" y="1745"/>
                  </a:lnTo>
                  <a:lnTo>
                    <a:pt x="3627" y="1745"/>
                  </a:lnTo>
                  <a:lnTo>
                    <a:pt x="3628" y="1745"/>
                  </a:lnTo>
                  <a:lnTo>
                    <a:pt x="3629" y="1744"/>
                  </a:lnTo>
                  <a:lnTo>
                    <a:pt x="3629" y="1742"/>
                  </a:lnTo>
                  <a:lnTo>
                    <a:pt x="3631" y="1741"/>
                  </a:lnTo>
                  <a:lnTo>
                    <a:pt x="3676" y="1644"/>
                  </a:lnTo>
                  <a:lnTo>
                    <a:pt x="3677" y="1641"/>
                  </a:lnTo>
                  <a:lnTo>
                    <a:pt x="3681" y="1639"/>
                  </a:lnTo>
                  <a:lnTo>
                    <a:pt x="3684" y="1637"/>
                  </a:lnTo>
                  <a:lnTo>
                    <a:pt x="3688" y="1637"/>
                  </a:lnTo>
                  <a:lnTo>
                    <a:pt x="3712" y="1637"/>
                  </a:lnTo>
                  <a:lnTo>
                    <a:pt x="3716" y="1638"/>
                  </a:lnTo>
                  <a:lnTo>
                    <a:pt x="3719" y="1640"/>
                  </a:lnTo>
                  <a:lnTo>
                    <a:pt x="3723" y="1645"/>
                  </a:lnTo>
                  <a:lnTo>
                    <a:pt x="3723" y="1649"/>
                  </a:lnTo>
                  <a:lnTo>
                    <a:pt x="3723" y="1866"/>
                  </a:lnTo>
                  <a:lnTo>
                    <a:pt x="3723" y="1869"/>
                  </a:lnTo>
                  <a:lnTo>
                    <a:pt x="3722" y="1871"/>
                  </a:lnTo>
                  <a:close/>
                  <a:moveTo>
                    <a:pt x="3488" y="1871"/>
                  </a:moveTo>
                  <a:lnTo>
                    <a:pt x="3487" y="1871"/>
                  </a:lnTo>
                  <a:lnTo>
                    <a:pt x="3485" y="1871"/>
                  </a:lnTo>
                  <a:lnTo>
                    <a:pt x="3455" y="1871"/>
                  </a:lnTo>
                  <a:lnTo>
                    <a:pt x="3453" y="1871"/>
                  </a:lnTo>
                  <a:lnTo>
                    <a:pt x="3452" y="1870"/>
                  </a:lnTo>
                  <a:lnTo>
                    <a:pt x="3450" y="1867"/>
                  </a:lnTo>
                  <a:lnTo>
                    <a:pt x="3450" y="1865"/>
                  </a:lnTo>
                  <a:lnTo>
                    <a:pt x="3450" y="1719"/>
                  </a:lnTo>
                  <a:lnTo>
                    <a:pt x="3450" y="1715"/>
                  </a:lnTo>
                  <a:lnTo>
                    <a:pt x="3449" y="1715"/>
                  </a:lnTo>
                  <a:lnTo>
                    <a:pt x="3448" y="1715"/>
                  </a:lnTo>
                  <a:lnTo>
                    <a:pt x="3448" y="1716"/>
                  </a:lnTo>
                  <a:lnTo>
                    <a:pt x="3418" y="1778"/>
                  </a:lnTo>
                  <a:lnTo>
                    <a:pt x="3417" y="1780"/>
                  </a:lnTo>
                  <a:lnTo>
                    <a:pt x="3415" y="1781"/>
                  </a:lnTo>
                  <a:lnTo>
                    <a:pt x="3413" y="1782"/>
                  </a:lnTo>
                  <a:lnTo>
                    <a:pt x="3409" y="1782"/>
                  </a:lnTo>
                  <a:lnTo>
                    <a:pt x="3380" y="1782"/>
                  </a:lnTo>
                  <a:lnTo>
                    <a:pt x="3376" y="1782"/>
                  </a:lnTo>
                  <a:lnTo>
                    <a:pt x="3374" y="1781"/>
                  </a:lnTo>
                  <a:lnTo>
                    <a:pt x="3372" y="1780"/>
                  </a:lnTo>
                  <a:lnTo>
                    <a:pt x="3369" y="1778"/>
                  </a:lnTo>
                  <a:lnTo>
                    <a:pt x="3341" y="1716"/>
                  </a:lnTo>
                  <a:lnTo>
                    <a:pt x="3340" y="1715"/>
                  </a:lnTo>
                  <a:lnTo>
                    <a:pt x="3339" y="1715"/>
                  </a:lnTo>
                  <a:lnTo>
                    <a:pt x="3339" y="1715"/>
                  </a:lnTo>
                  <a:lnTo>
                    <a:pt x="3339" y="1719"/>
                  </a:lnTo>
                  <a:lnTo>
                    <a:pt x="3339" y="1865"/>
                  </a:lnTo>
                  <a:lnTo>
                    <a:pt x="3338" y="1867"/>
                  </a:lnTo>
                  <a:lnTo>
                    <a:pt x="3338" y="1870"/>
                  </a:lnTo>
                  <a:lnTo>
                    <a:pt x="3335" y="1871"/>
                  </a:lnTo>
                  <a:lnTo>
                    <a:pt x="3334" y="1871"/>
                  </a:lnTo>
                  <a:lnTo>
                    <a:pt x="3303" y="1871"/>
                  </a:lnTo>
                  <a:lnTo>
                    <a:pt x="3301" y="1871"/>
                  </a:lnTo>
                  <a:lnTo>
                    <a:pt x="3300" y="1871"/>
                  </a:lnTo>
                  <a:lnTo>
                    <a:pt x="3299" y="1869"/>
                  </a:lnTo>
                  <a:lnTo>
                    <a:pt x="3299" y="1866"/>
                  </a:lnTo>
                  <a:lnTo>
                    <a:pt x="3299" y="1649"/>
                  </a:lnTo>
                  <a:lnTo>
                    <a:pt x="3299" y="1645"/>
                  </a:lnTo>
                  <a:lnTo>
                    <a:pt x="3302" y="1640"/>
                  </a:lnTo>
                  <a:lnTo>
                    <a:pt x="3306" y="1638"/>
                  </a:lnTo>
                  <a:lnTo>
                    <a:pt x="3310" y="1637"/>
                  </a:lnTo>
                  <a:lnTo>
                    <a:pt x="3335" y="1637"/>
                  </a:lnTo>
                  <a:lnTo>
                    <a:pt x="3339" y="1637"/>
                  </a:lnTo>
                  <a:lnTo>
                    <a:pt x="3341" y="1639"/>
                  </a:lnTo>
                  <a:lnTo>
                    <a:pt x="3344" y="1641"/>
                  </a:lnTo>
                  <a:lnTo>
                    <a:pt x="3346" y="1644"/>
                  </a:lnTo>
                  <a:lnTo>
                    <a:pt x="3391" y="1741"/>
                  </a:lnTo>
                  <a:lnTo>
                    <a:pt x="3392" y="1742"/>
                  </a:lnTo>
                  <a:lnTo>
                    <a:pt x="3392" y="1744"/>
                  </a:lnTo>
                  <a:lnTo>
                    <a:pt x="3393" y="1745"/>
                  </a:lnTo>
                  <a:lnTo>
                    <a:pt x="3395" y="1745"/>
                  </a:lnTo>
                  <a:lnTo>
                    <a:pt x="3395" y="1745"/>
                  </a:lnTo>
                  <a:lnTo>
                    <a:pt x="3396" y="1744"/>
                  </a:lnTo>
                  <a:lnTo>
                    <a:pt x="3397" y="1742"/>
                  </a:lnTo>
                  <a:lnTo>
                    <a:pt x="3398" y="1741"/>
                  </a:lnTo>
                  <a:lnTo>
                    <a:pt x="3442" y="1644"/>
                  </a:lnTo>
                  <a:lnTo>
                    <a:pt x="3445" y="1641"/>
                  </a:lnTo>
                  <a:lnTo>
                    <a:pt x="3447" y="1639"/>
                  </a:lnTo>
                  <a:lnTo>
                    <a:pt x="3450" y="1637"/>
                  </a:lnTo>
                  <a:lnTo>
                    <a:pt x="3454" y="1637"/>
                  </a:lnTo>
                  <a:lnTo>
                    <a:pt x="3478" y="1637"/>
                  </a:lnTo>
                  <a:lnTo>
                    <a:pt x="3482" y="1638"/>
                  </a:lnTo>
                  <a:lnTo>
                    <a:pt x="3487" y="1640"/>
                  </a:lnTo>
                  <a:lnTo>
                    <a:pt x="3489" y="1645"/>
                  </a:lnTo>
                  <a:lnTo>
                    <a:pt x="3490" y="1649"/>
                  </a:lnTo>
                  <a:lnTo>
                    <a:pt x="3490" y="1866"/>
                  </a:lnTo>
                  <a:lnTo>
                    <a:pt x="3489" y="1869"/>
                  </a:lnTo>
                  <a:lnTo>
                    <a:pt x="3488" y="1871"/>
                  </a:lnTo>
                  <a:close/>
                  <a:moveTo>
                    <a:pt x="3270" y="1866"/>
                  </a:moveTo>
                  <a:lnTo>
                    <a:pt x="3270" y="1869"/>
                  </a:lnTo>
                  <a:lnTo>
                    <a:pt x="3269" y="1870"/>
                  </a:lnTo>
                  <a:lnTo>
                    <a:pt x="3267" y="1871"/>
                  </a:lnTo>
                  <a:lnTo>
                    <a:pt x="3265" y="1871"/>
                  </a:lnTo>
                  <a:lnTo>
                    <a:pt x="3234" y="1871"/>
                  </a:lnTo>
                  <a:lnTo>
                    <a:pt x="3232" y="1871"/>
                  </a:lnTo>
                  <a:lnTo>
                    <a:pt x="3229" y="1870"/>
                  </a:lnTo>
                  <a:lnTo>
                    <a:pt x="3228" y="1869"/>
                  </a:lnTo>
                  <a:lnTo>
                    <a:pt x="3228" y="1866"/>
                  </a:lnTo>
                  <a:lnTo>
                    <a:pt x="3214" y="1806"/>
                  </a:lnTo>
                  <a:lnTo>
                    <a:pt x="3145" y="1806"/>
                  </a:lnTo>
                  <a:lnTo>
                    <a:pt x="3131" y="1866"/>
                  </a:lnTo>
                  <a:lnTo>
                    <a:pt x="3131" y="1869"/>
                  </a:lnTo>
                  <a:lnTo>
                    <a:pt x="3130" y="1870"/>
                  </a:lnTo>
                  <a:lnTo>
                    <a:pt x="3128" y="1871"/>
                  </a:lnTo>
                  <a:lnTo>
                    <a:pt x="3125" y="1871"/>
                  </a:lnTo>
                  <a:lnTo>
                    <a:pt x="3095" y="1871"/>
                  </a:lnTo>
                  <a:lnTo>
                    <a:pt x="3092" y="1871"/>
                  </a:lnTo>
                  <a:lnTo>
                    <a:pt x="3090" y="1870"/>
                  </a:lnTo>
                  <a:lnTo>
                    <a:pt x="3089" y="1869"/>
                  </a:lnTo>
                  <a:lnTo>
                    <a:pt x="3089" y="1866"/>
                  </a:lnTo>
                  <a:lnTo>
                    <a:pt x="3089" y="1865"/>
                  </a:lnTo>
                  <a:lnTo>
                    <a:pt x="3089" y="1865"/>
                  </a:lnTo>
                  <a:lnTo>
                    <a:pt x="3089" y="1865"/>
                  </a:lnTo>
                  <a:lnTo>
                    <a:pt x="3089" y="1864"/>
                  </a:lnTo>
                  <a:lnTo>
                    <a:pt x="3138" y="1666"/>
                  </a:lnTo>
                  <a:lnTo>
                    <a:pt x="3141" y="1656"/>
                  </a:lnTo>
                  <a:lnTo>
                    <a:pt x="3146" y="1649"/>
                  </a:lnTo>
                  <a:lnTo>
                    <a:pt x="3152" y="1644"/>
                  </a:lnTo>
                  <a:lnTo>
                    <a:pt x="3156" y="1639"/>
                  </a:lnTo>
                  <a:lnTo>
                    <a:pt x="3163" y="1637"/>
                  </a:lnTo>
                  <a:lnTo>
                    <a:pt x="3169" y="1635"/>
                  </a:lnTo>
                  <a:lnTo>
                    <a:pt x="3175" y="1635"/>
                  </a:lnTo>
                  <a:lnTo>
                    <a:pt x="3179" y="1633"/>
                  </a:lnTo>
                  <a:lnTo>
                    <a:pt x="3185" y="1635"/>
                  </a:lnTo>
                  <a:lnTo>
                    <a:pt x="3190" y="1635"/>
                  </a:lnTo>
                  <a:lnTo>
                    <a:pt x="3196" y="1637"/>
                  </a:lnTo>
                  <a:lnTo>
                    <a:pt x="3203" y="1639"/>
                  </a:lnTo>
                  <a:lnTo>
                    <a:pt x="3209" y="1644"/>
                  </a:lnTo>
                  <a:lnTo>
                    <a:pt x="3213" y="1649"/>
                  </a:lnTo>
                  <a:lnTo>
                    <a:pt x="3218" y="1656"/>
                  </a:lnTo>
                  <a:lnTo>
                    <a:pt x="3221" y="1666"/>
                  </a:lnTo>
                  <a:lnTo>
                    <a:pt x="3270" y="1864"/>
                  </a:lnTo>
                  <a:lnTo>
                    <a:pt x="3270" y="1865"/>
                  </a:lnTo>
                  <a:lnTo>
                    <a:pt x="3270" y="1865"/>
                  </a:lnTo>
                  <a:lnTo>
                    <a:pt x="3270" y="1865"/>
                  </a:lnTo>
                  <a:lnTo>
                    <a:pt x="3270" y="1866"/>
                  </a:lnTo>
                  <a:close/>
                  <a:moveTo>
                    <a:pt x="3185" y="1677"/>
                  </a:moveTo>
                  <a:lnTo>
                    <a:pt x="3185" y="1677"/>
                  </a:lnTo>
                  <a:lnTo>
                    <a:pt x="3184" y="1673"/>
                  </a:lnTo>
                  <a:lnTo>
                    <a:pt x="3182" y="1672"/>
                  </a:lnTo>
                  <a:lnTo>
                    <a:pt x="3181" y="1671"/>
                  </a:lnTo>
                  <a:lnTo>
                    <a:pt x="3179" y="1671"/>
                  </a:lnTo>
                  <a:lnTo>
                    <a:pt x="3178" y="1671"/>
                  </a:lnTo>
                  <a:lnTo>
                    <a:pt x="3177" y="1672"/>
                  </a:lnTo>
                  <a:lnTo>
                    <a:pt x="3176" y="1673"/>
                  </a:lnTo>
                  <a:lnTo>
                    <a:pt x="3175" y="1677"/>
                  </a:lnTo>
                  <a:lnTo>
                    <a:pt x="3153" y="1770"/>
                  </a:lnTo>
                  <a:lnTo>
                    <a:pt x="3206" y="1770"/>
                  </a:lnTo>
                  <a:lnTo>
                    <a:pt x="3185" y="1677"/>
                  </a:lnTo>
                  <a:close/>
                  <a:moveTo>
                    <a:pt x="3083" y="1710"/>
                  </a:moveTo>
                  <a:lnTo>
                    <a:pt x="3083" y="1720"/>
                  </a:lnTo>
                  <a:lnTo>
                    <a:pt x="3082" y="1729"/>
                  </a:lnTo>
                  <a:lnTo>
                    <a:pt x="3080" y="1738"/>
                  </a:lnTo>
                  <a:lnTo>
                    <a:pt x="3076" y="1745"/>
                  </a:lnTo>
                  <a:lnTo>
                    <a:pt x="3073" y="1752"/>
                  </a:lnTo>
                  <a:lnTo>
                    <a:pt x="3068" y="1757"/>
                  </a:lnTo>
                  <a:lnTo>
                    <a:pt x="3064" y="1763"/>
                  </a:lnTo>
                  <a:lnTo>
                    <a:pt x="3058" y="1767"/>
                  </a:lnTo>
                  <a:lnTo>
                    <a:pt x="3051" y="1772"/>
                  </a:lnTo>
                  <a:lnTo>
                    <a:pt x="3045" y="1775"/>
                  </a:lnTo>
                  <a:lnTo>
                    <a:pt x="3038" y="1778"/>
                  </a:lnTo>
                  <a:lnTo>
                    <a:pt x="3031" y="1780"/>
                  </a:lnTo>
                  <a:lnTo>
                    <a:pt x="3015" y="1783"/>
                  </a:lnTo>
                  <a:lnTo>
                    <a:pt x="2998" y="1783"/>
                  </a:lnTo>
                  <a:lnTo>
                    <a:pt x="2991" y="1783"/>
                  </a:lnTo>
                  <a:lnTo>
                    <a:pt x="2984" y="1783"/>
                  </a:lnTo>
                  <a:lnTo>
                    <a:pt x="2976" y="1783"/>
                  </a:lnTo>
                  <a:lnTo>
                    <a:pt x="2970" y="1782"/>
                  </a:lnTo>
                  <a:lnTo>
                    <a:pt x="2970" y="1865"/>
                  </a:lnTo>
                  <a:lnTo>
                    <a:pt x="2970" y="1867"/>
                  </a:lnTo>
                  <a:lnTo>
                    <a:pt x="2969" y="1870"/>
                  </a:lnTo>
                  <a:lnTo>
                    <a:pt x="2967" y="1871"/>
                  </a:lnTo>
                  <a:lnTo>
                    <a:pt x="2965" y="1871"/>
                  </a:lnTo>
                  <a:lnTo>
                    <a:pt x="2935" y="1871"/>
                  </a:lnTo>
                  <a:lnTo>
                    <a:pt x="2933" y="1871"/>
                  </a:lnTo>
                  <a:lnTo>
                    <a:pt x="2932" y="1870"/>
                  </a:lnTo>
                  <a:lnTo>
                    <a:pt x="2929" y="1867"/>
                  </a:lnTo>
                  <a:lnTo>
                    <a:pt x="2929" y="1865"/>
                  </a:lnTo>
                  <a:lnTo>
                    <a:pt x="2929" y="1648"/>
                  </a:lnTo>
                  <a:lnTo>
                    <a:pt x="2931" y="1644"/>
                  </a:lnTo>
                  <a:lnTo>
                    <a:pt x="2932" y="1640"/>
                  </a:lnTo>
                  <a:lnTo>
                    <a:pt x="2935" y="1639"/>
                  </a:lnTo>
                  <a:lnTo>
                    <a:pt x="2939" y="1638"/>
                  </a:lnTo>
                  <a:lnTo>
                    <a:pt x="2951" y="1637"/>
                  </a:lnTo>
                  <a:lnTo>
                    <a:pt x="2966" y="1635"/>
                  </a:lnTo>
                  <a:lnTo>
                    <a:pt x="2982" y="1635"/>
                  </a:lnTo>
                  <a:lnTo>
                    <a:pt x="2998" y="1633"/>
                  </a:lnTo>
                  <a:lnTo>
                    <a:pt x="3015" y="1635"/>
                  </a:lnTo>
                  <a:lnTo>
                    <a:pt x="3031" y="1638"/>
                  </a:lnTo>
                  <a:lnTo>
                    <a:pt x="3038" y="1639"/>
                  </a:lnTo>
                  <a:lnTo>
                    <a:pt x="3046" y="1642"/>
                  </a:lnTo>
                  <a:lnTo>
                    <a:pt x="3051" y="1646"/>
                  </a:lnTo>
                  <a:lnTo>
                    <a:pt x="3058" y="1649"/>
                  </a:lnTo>
                  <a:lnTo>
                    <a:pt x="3064" y="1654"/>
                  </a:lnTo>
                  <a:lnTo>
                    <a:pt x="3068" y="1660"/>
                  </a:lnTo>
                  <a:lnTo>
                    <a:pt x="3073" y="1665"/>
                  </a:lnTo>
                  <a:lnTo>
                    <a:pt x="3076" y="1672"/>
                  </a:lnTo>
                  <a:lnTo>
                    <a:pt x="3080" y="1680"/>
                  </a:lnTo>
                  <a:lnTo>
                    <a:pt x="3082" y="1688"/>
                  </a:lnTo>
                  <a:lnTo>
                    <a:pt x="3083" y="1697"/>
                  </a:lnTo>
                  <a:lnTo>
                    <a:pt x="3083" y="1707"/>
                  </a:lnTo>
                  <a:lnTo>
                    <a:pt x="3083" y="1710"/>
                  </a:lnTo>
                  <a:close/>
                  <a:moveTo>
                    <a:pt x="3042" y="1707"/>
                  </a:moveTo>
                  <a:lnTo>
                    <a:pt x="3042" y="1707"/>
                  </a:lnTo>
                  <a:lnTo>
                    <a:pt x="3041" y="1698"/>
                  </a:lnTo>
                  <a:lnTo>
                    <a:pt x="3040" y="1690"/>
                  </a:lnTo>
                  <a:lnTo>
                    <a:pt x="3035" y="1683"/>
                  </a:lnTo>
                  <a:lnTo>
                    <a:pt x="3031" y="1679"/>
                  </a:lnTo>
                  <a:lnTo>
                    <a:pt x="3025" y="1675"/>
                  </a:lnTo>
                  <a:lnTo>
                    <a:pt x="3017" y="1672"/>
                  </a:lnTo>
                  <a:lnTo>
                    <a:pt x="3008" y="1671"/>
                  </a:lnTo>
                  <a:lnTo>
                    <a:pt x="2998" y="1670"/>
                  </a:lnTo>
                  <a:lnTo>
                    <a:pt x="2994" y="1671"/>
                  </a:lnTo>
                  <a:lnTo>
                    <a:pt x="2991" y="1671"/>
                  </a:lnTo>
                  <a:lnTo>
                    <a:pt x="2988" y="1671"/>
                  </a:lnTo>
                  <a:lnTo>
                    <a:pt x="2984" y="1671"/>
                  </a:lnTo>
                  <a:lnTo>
                    <a:pt x="2980" y="1671"/>
                  </a:lnTo>
                  <a:lnTo>
                    <a:pt x="2976" y="1671"/>
                  </a:lnTo>
                  <a:lnTo>
                    <a:pt x="2973" y="1671"/>
                  </a:lnTo>
                  <a:lnTo>
                    <a:pt x="2970" y="1672"/>
                  </a:lnTo>
                  <a:lnTo>
                    <a:pt x="2970" y="1747"/>
                  </a:lnTo>
                  <a:lnTo>
                    <a:pt x="2973" y="1747"/>
                  </a:lnTo>
                  <a:lnTo>
                    <a:pt x="2976" y="1747"/>
                  </a:lnTo>
                  <a:lnTo>
                    <a:pt x="2981" y="1747"/>
                  </a:lnTo>
                  <a:lnTo>
                    <a:pt x="2984" y="1747"/>
                  </a:lnTo>
                  <a:lnTo>
                    <a:pt x="2989" y="1747"/>
                  </a:lnTo>
                  <a:lnTo>
                    <a:pt x="2992" y="1748"/>
                  </a:lnTo>
                  <a:lnTo>
                    <a:pt x="2996" y="1748"/>
                  </a:lnTo>
                  <a:lnTo>
                    <a:pt x="2998" y="1748"/>
                  </a:lnTo>
                  <a:lnTo>
                    <a:pt x="3009" y="1747"/>
                  </a:lnTo>
                  <a:lnTo>
                    <a:pt x="3018" y="1746"/>
                  </a:lnTo>
                  <a:lnTo>
                    <a:pt x="3026" y="1742"/>
                  </a:lnTo>
                  <a:lnTo>
                    <a:pt x="3032" y="1738"/>
                  </a:lnTo>
                  <a:lnTo>
                    <a:pt x="3037" y="1733"/>
                  </a:lnTo>
                  <a:lnTo>
                    <a:pt x="3040" y="1727"/>
                  </a:lnTo>
                  <a:lnTo>
                    <a:pt x="3041" y="1719"/>
                  </a:lnTo>
                  <a:lnTo>
                    <a:pt x="3042" y="1710"/>
                  </a:lnTo>
                  <a:lnTo>
                    <a:pt x="3042" y="1707"/>
                  </a:lnTo>
                  <a:close/>
                  <a:moveTo>
                    <a:pt x="2805" y="1865"/>
                  </a:moveTo>
                  <a:lnTo>
                    <a:pt x="2805" y="1867"/>
                  </a:lnTo>
                  <a:lnTo>
                    <a:pt x="2803" y="1870"/>
                  </a:lnTo>
                  <a:lnTo>
                    <a:pt x="2802" y="1871"/>
                  </a:lnTo>
                  <a:lnTo>
                    <a:pt x="2799" y="1871"/>
                  </a:lnTo>
                  <a:lnTo>
                    <a:pt x="2770" y="1871"/>
                  </a:lnTo>
                  <a:lnTo>
                    <a:pt x="2767" y="1871"/>
                  </a:lnTo>
                  <a:lnTo>
                    <a:pt x="2765" y="1870"/>
                  </a:lnTo>
                  <a:lnTo>
                    <a:pt x="2764" y="1867"/>
                  </a:lnTo>
                  <a:lnTo>
                    <a:pt x="2763" y="1865"/>
                  </a:lnTo>
                  <a:lnTo>
                    <a:pt x="2763" y="1699"/>
                  </a:lnTo>
                  <a:lnTo>
                    <a:pt x="2764" y="1689"/>
                  </a:lnTo>
                  <a:lnTo>
                    <a:pt x="2765" y="1680"/>
                  </a:lnTo>
                  <a:lnTo>
                    <a:pt x="2766" y="1673"/>
                  </a:lnTo>
                  <a:lnTo>
                    <a:pt x="2769" y="1666"/>
                  </a:lnTo>
                  <a:lnTo>
                    <a:pt x="2772" y="1660"/>
                  </a:lnTo>
                  <a:lnTo>
                    <a:pt x="2775" y="1655"/>
                  </a:lnTo>
                  <a:lnTo>
                    <a:pt x="2779" y="1650"/>
                  </a:lnTo>
                  <a:lnTo>
                    <a:pt x="2783" y="1646"/>
                  </a:lnTo>
                  <a:lnTo>
                    <a:pt x="2788" y="1642"/>
                  </a:lnTo>
                  <a:lnTo>
                    <a:pt x="2794" y="1640"/>
                  </a:lnTo>
                  <a:lnTo>
                    <a:pt x="2799" y="1638"/>
                  </a:lnTo>
                  <a:lnTo>
                    <a:pt x="2805" y="1637"/>
                  </a:lnTo>
                  <a:lnTo>
                    <a:pt x="2819" y="1635"/>
                  </a:lnTo>
                  <a:lnTo>
                    <a:pt x="2832" y="1633"/>
                  </a:lnTo>
                  <a:lnTo>
                    <a:pt x="2845" y="1635"/>
                  </a:lnTo>
                  <a:lnTo>
                    <a:pt x="2855" y="1635"/>
                  </a:lnTo>
                  <a:lnTo>
                    <a:pt x="2863" y="1635"/>
                  </a:lnTo>
                  <a:lnTo>
                    <a:pt x="2871" y="1636"/>
                  </a:lnTo>
                  <a:lnTo>
                    <a:pt x="2877" y="1636"/>
                  </a:lnTo>
                  <a:lnTo>
                    <a:pt x="2881" y="1637"/>
                  </a:lnTo>
                  <a:lnTo>
                    <a:pt x="2886" y="1638"/>
                  </a:lnTo>
                  <a:lnTo>
                    <a:pt x="2889" y="1638"/>
                  </a:lnTo>
                  <a:lnTo>
                    <a:pt x="2893" y="1639"/>
                  </a:lnTo>
                  <a:lnTo>
                    <a:pt x="2894" y="1640"/>
                  </a:lnTo>
                  <a:lnTo>
                    <a:pt x="2895" y="1642"/>
                  </a:lnTo>
                  <a:lnTo>
                    <a:pt x="2895" y="1645"/>
                  </a:lnTo>
                  <a:lnTo>
                    <a:pt x="2895" y="1665"/>
                  </a:lnTo>
                  <a:lnTo>
                    <a:pt x="2895" y="1667"/>
                  </a:lnTo>
                  <a:lnTo>
                    <a:pt x="2894" y="1670"/>
                  </a:lnTo>
                  <a:lnTo>
                    <a:pt x="2892" y="1671"/>
                  </a:lnTo>
                  <a:lnTo>
                    <a:pt x="2889" y="1672"/>
                  </a:lnTo>
                  <a:lnTo>
                    <a:pt x="2829" y="1672"/>
                  </a:lnTo>
                  <a:lnTo>
                    <a:pt x="2822" y="1672"/>
                  </a:lnTo>
                  <a:lnTo>
                    <a:pt x="2818" y="1673"/>
                  </a:lnTo>
                  <a:lnTo>
                    <a:pt x="2813" y="1674"/>
                  </a:lnTo>
                  <a:lnTo>
                    <a:pt x="2811" y="1678"/>
                  </a:lnTo>
                  <a:lnTo>
                    <a:pt x="2809" y="1681"/>
                  </a:lnTo>
                  <a:lnTo>
                    <a:pt x="2806" y="1686"/>
                  </a:lnTo>
                  <a:lnTo>
                    <a:pt x="2805" y="1691"/>
                  </a:lnTo>
                  <a:lnTo>
                    <a:pt x="2805" y="1699"/>
                  </a:lnTo>
                  <a:lnTo>
                    <a:pt x="2805" y="1865"/>
                  </a:lnTo>
                  <a:close/>
                  <a:moveTo>
                    <a:pt x="2728" y="1775"/>
                  </a:moveTo>
                  <a:lnTo>
                    <a:pt x="2726" y="1788"/>
                  </a:lnTo>
                  <a:lnTo>
                    <a:pt x="2725" y="1799"/>
                  </a:lnTo>
                  <a:lnTo>
                    <a:pt x="2724" y="1811"/>
                  </a:lnTo>
                  <a:lnTo>
                    <a:pt x="2721" y="1820"/>
                  </a:lnTo>
                  <a:lnTo>
                    <a:pt x="2717" y="1829"/>
                  </a:lnTo>
                  <a:lnTo>
                    <a:pt x="2713" y="1837"/>
                  </a:lnTo>
                  <a:lnTo>
                    <a:pt x="2708" y="1845"/>
                  </a:lnTo>
                  <a:lnTo>
                    <a:pt x="2704" y="1850"/>
                  </a:lnTo>
                  <a:lnTo>
                    <a:pt x="2697" y="1856"/>
                  </a:lnTo>
                  <a:lnTo>
                    <a:pt x="2691" y="1861"/>
                  </a:lnTo>
                  <a:lnTo>
                    <a:pt x="2684" y="1865"/>
                  </a:lnTo>
                  <a:lnTo>
                    <a:pt x="2676" y="1869"/>
                  </a:lnTo>
                  <a:lnTo>
                    <a:pt x="2668" y="1871"/>
                  </a:lnTo>
                  <a:lnTo>
                    <a:pt x="2660" y="1872"/>
                  </a:lnTo>
                  <a:lnTo>
                    <a:pt x="2651" y="1873"/>
                  </a:lnTo>
                  <a:lnTo>
                    <a:pt x="2642" y="1874"/>
                  </a:lnTo>
                  <a:lnTo>
                    <a:pt x="2633" y="1873"/>
                  </a:lnTo>
                  <a:lnTo>
                    <a:pt x="2625" y="1872"/>
                  </a:lnTo>
                  <a:lnTo>
                    <a:pt x="2616" y="1871"/>
                  </a:lnTo>
                  <a:lnTo>
                    <a:pt x="2608" y="1869"/>
                  </a:lnTo>
                  <a:lnTo>
                    <a:pt x="2601" y="1865"/>
                  </a:lnTo>
                  <a:lnTo>
                    <a:pt x="2594" y="1861"/>
                  </a:lnTo>
                  <a:lnTo>
                    <a:pt x="2587" y="1856"/>
                  </a:lnTo>
                  <a:lnTo>
                    <a:pt x="2582" y="1850"/>
                  </a:lnTo>
                  <a:lnTo>
                    <a:pt x="2576" y="1845"/>
                  </a:lnTo>
                  <a:lnTo>
                    <a:pt x="2571" y="1837"/>
                  </a:lnTo>
                  <a:lnTo>
                    <a:pt x="2567" y="1829"/>
                  </a:lnTo>
                  <a:lnTo>
                    <a:pt x="2563" y="1820"/>
                  </a:lnTo>
                  <a:lnTo>
                    <a:pt x="2561" y="1811"/>
                  </a:lnTo>
                  <a:lnTo>
                    <a:pt x="2559" y="1799"/>
                  </a:lnTo>
                  <a:lnTo>
                    <a:pt x="2558" y="1788"/>
                  </a:lnTo>
                  <a:lnTo>
                    <a:pt x="2558" y="1775"/>
                  </a:lnTo>
                  <a:lnTo>
                    <a:pt x="2558" y="1732"/>
                  </a:lnTo>
                  <a:lnTo>
                    <a:pt x="2558" y="1720"/>
                  </a:lnTo>
                  <a:lnTo>
                    <a:pt x="2559" y="1708"/>
                  </a:lnTo>
                  <a:lnTo>
                    <a:pt x="2561" y="1698"/>
                  </a:lnTo>
                  <a:lnTo>
                    <a:pt x="2563" y="1688"/>
                  </a:lnTo>
                  <a:lnTo>
                    <a:pt x="2567" y="1679"/>
                  </a:lnTo>
                  <a:lnTo>
                    <a:pt x="2571" y="1671"/>
                  </a:lnTo>
                  <a:lnTo>
                    <a:pt x="2576" y="1664"/>
                  </a:lnTo>
                  <a:lnTo>
                    <a:pt x="2582" y="1657"/>
                  </a:lnTo>
                  <a:lnTo>
                    <a:pt x="2587" y="1652"/>
                  </a:lnTo>
                  <a:lnTo>
                    <a:pt x="2594" y="1647"/>
                  </a:lnTo>
                  <a:lnTo>
                    <a:pt x="2601" y="1642"/>
                  </a:lnTo>
                  <a:lnTo>
                    <a:pt x="2608" y="1639"/>
                  </a:lnTo>
                  <a:lnTo>
                    <a:pt x="2616" y="1637"/>
                  </a:lnTo>
                  <a:lnTo>
                    <a:pt x="2625" y="1636"/>
                  </a:lnTo>
                  <a:lnTo>
                    <a:pt x="2633" y="1635"/>
                  </a:lnTo>
                  <a:lnTo>
                    <a:pt x="2642" y="1633"/>
                  </a:lnTo>
                  <a:lnTo>
                    <a:pt x="2651" y="1635"/>
                  </a:lnTo>
                  <a:lnTo>
                    <a:pt x="2660" y="1636"/>
                  </a:lnTo>
                  <a:lnTo>
                    <a:pt x="2668" y="1637"/>
                  </a:lnTo>
                  <a:lnTo>
                    <a:pt x="2676" y="1639"/>
                  </a:lnTo>
                  <a:lnTo>
                    <a:pt x="2684" y="1642"/>
                  </a:lnTo>
                  <a:lnTo>
                    <a:pt x="2691" y="1647"/>
                  </a:lnTo>
                  <a:lnTo>
                    <a:pt x="2697" y="1652"/>
                  </a:lnTo>
                  <a:lnTo>
                    <a:pt x="2704" y="1657"/>
                  </a:lnTo>
                  <a:lnTo>
                    <a:pt x="2708" y="1664"/>
                  </a:lnTo>
                  <a:lnTo>
                    <a:pt x="2713" y="1671"/>
                  </a:lnTo>
                  <a:lnTo>
                    <a:pt x="2717" y="1679"/>
                  </a:lnTo>
                  <a:lnTo>
                    <a:pt x="2721" y="1688"/>
                  </a:lnTo>
                  <a:lnTo>
                    <a:pt x="2724" y="1698"/>
                  </a:lnTo>
                  <a:lnTo>
                    <a:pt x="2725" y="1708"/>
                  </a:lnTo>
                  <a:lnTo>
                    <a:pt x="2726" y="1720"/>
                  </a:lnTo>
                  <a:lnTo>
                    <a:pt x="2728" y="1732"/>
                  </a:lnTo>
                  <a:lnTo>
                    <a:pt x="2728" y="1775"/>
                  </a:lnTo>
                  <a:close/>
                  <a:moveTo>
                    <a:pt x="2685" y="1732"/>
                  </a:moveTo>
                  <a:lnTo>
                    <a:pt x="2685" y="1732"/>
                  </a:lnTo>
                  <a:lnTo>
                    <a:pt x="2685" y="1717"/>
                  </a:lnTo>
                  <a:lnTo>
                    <a:pt x="2683" y="1705"/>
                  </a:lnTo>
                  <a:lnTo>
                    <a:pt x="2680" y="1695"/>
                  </a:lnTo>
                  <a:lnTo>
                    <a:pt x="2675" y="1687"/>
                  </a:lnTo>
                  <a:lnTo>
                    <a:pt x="2673" y="1683"/>
                  </a:lnTo>
                  <a:lnTo>
                    <a:pt x="2669" y="1680"/>
                  </a:lnTo>
                  <a:lnTo>
                    <a:pt x="2666" y="1678"/>
                  </a:lnTo>
                  <a:lnTo>
                    <a:pt x="2661" y="1675"/>
                  </a:lnTo>
                  <a:lnTo>
                    <a:pt x="2652" y="1673"/>
                  </a:lnTo>
                  <a:lnTo>
                    <a:pt x="2642" y="1672"/>
                  </a:lnTo>
                  <a:lnTo>
                    <a:pt x="2632" y="1673"/>
                  </a:lnTo>
                  <a:lnTo>
                    <a:pt x="2623" y="1675"/>
                  </a:lnTo>
                  <a:lnTo>
                    <a:pt x="2619" y="1678"/>
                  </a:lnTo>
                  <a:lnTo>
                    <a:pt x="2616" y="1680"/>
                  </a:lnTo>
                  <a:lnTo>
                    <a:pt x="2612" y="1683"/>
                  </a:lnTo>
                  <a:lnTo>
                    <a:pt x="2609" y="1687"/>
                  </a:lnTo>
                  <a:lnTo>
                    <a:pt x="2604" y="1695"/>
                  </a:lnTo>
                  <a:lnTo>
                    <a:pt x="2602" y="1705"/>
                  </a:lnTo>
                  <a:lnTo>
                    <a:pt x="2600" y="1717"/>
                  </a:lnTo>
                  <a:lnTo>
                    <a:pt x="2599" y="1732"/>
                  </a:lnTo>
                  <a:lnTo>
                    <a:pt x="2599" y="1775"/>
                  </a:lnTo>
                  <a:lnTo>
                    <a:pt x="2600" y="1790"/>
                  </a:lnTo>
                  <a:lnTo>
                    <a:pt x="2602" y="1803"/>
                  </a:lnTo>
                  <a:lnTo>
                    <a:pt x="2604" y="1813"/>
                  </a:lnTo>
                  <a:lnTo>
                    <a:pt x="2609" y="1821"/>
                  </a:lnTo>
                  <a:lnTo>
                    <a:pt x="2612" y="1824"/>
                  </a:lnTo>
                  <a:lnTo>
                    <a:pt x="2616" y="1828"/>
                  </a:lnTo>
                  <a:lnTo>
                    <a:pt x="2619" y="1830"/>
                  </a:lnTo>
                  <a:lnTo>
                    <a:pt x="2623" y="1832"/>
                  </a:lnTo>
                  <a:lnTo>
                    <a:pt x="2632" y="1834"/>
                  </a:lnTo>
                  <a:lnTo>
                    <a:pt x="2642" y="1836"/>
                  </a:lnTo>
                  <a:lnTo>
                    <a:pt x="2652" y="1834"/>
                  </a:lnTo>
                  <a:lnTo>
                    <a:pt x="2661" y="1832"/>
                  </a:lnTo>
                  <a:lnTo>
                    <a:pt x="2666" y="1830"/>
                  </a:lnTo>
                  <a:lnTo>
                    <a:pt x="2669" y="1828"/>
                  </a:lnTo>
                  <a:lnTo>
                    <a:pt x="2673" y="1824"/>
                  </a:lnTo>
                  <a:lnTo>
                    <a:pt x="2675" y="1821"/>
                  </a:lnTo>
                  <a:lnTo>
                    <a:pt x="2680" y="1813"/>
                  </a:lnTo>
                  <a:lnTo>
                    <a:pt x="2683" y="1803"/>
                  </a:lnTo>
                  <a:lnTo>
                    <a:pt x="2685" y="1790"/>
                  </a:lnTo>
                  <a:lnTo>
                    <a:pt x="2685" y="1775"/>
                  </a:lnTo>
                  <a:lnTo>
                    <a:pt x="2685" y="1732"/>
                  </a:lnTo>
                  <a:close/>
                  <a:moveTo>
                    <a:pt x="2530" y="1710"/>
                  </a:moveTo>
                  <a:lnTo>
                    <a:pt x="2530" y="1720"/>
                  </a:lnTo>
                  <a:lnTo>
                    <a:pt x="2528" y="1729"/>
                  </a:lnTo>
                  <a:lnTo>
                    <a:pt x="2526" y="1738"/>
                  </a:lnTo>
                  <a:lnTo>
                    <a:pt x="2523" y="1745"/>
                  </a:lnTo>
                  <a:lnTo>
                    <a:pt x="2519" y="1752"/>
                  </a:lnTo>
                  <a:lnTo>
                    <a:pt x="2516" y="1757"/>
                  </a:lnTo>
                  <a:lnTo>
                    <a:pt x="2510" y="1763"/>
                  </a:lnTo>
                  <a:lnTo>
                    <a:pt x="2504" y="1767"/>
                  </a:lnTo>
                  <a:lnTo>
                    <a:pt x="2498" y="1772"/>
                  </a:lnTo>
                  <a:lnTo>
                    <a:pt x="2492" y="1775"/>
                  </a:lnTo>
                  <a:lnTo>
                    <a:pt x="2485" y="1778"/>
                  </a:lnTo>
                  <a:lnTo>
                    <a:pt x="2477" y="1780"/>
                  </a:lnTo>
                  <a:lnTo>
                    <a:pt x="2461" y="1783"/>
                  </a:lnTo>
                  <a:lnTo>
                    <a:pt x="2444" y="1783"/>
                  </a:lnTo>
                  <a:lnTo>
                    <a:pt x="2438" y="1783"/>
                  </a:lnTo>
                  <a:lnTo>
                    <a:pt x="2430" y="1783"/>
                  </a:lnTo>
                  <a:lnTo>
                    <a:pt x="2423" y="1783"/>
                  </a:lnTo>
                  <a:lnTo>
                    <a:pt x="2417" y="1782"/>
                  </a:lnTo>
                  <a:lnTo>
                    <a:pt x="2417" y="1865"/>
                  </a:lnTo>
                  <a:lnTo>
                    <a:pt x="2417" y="1867"/>
                  </a:lnTo>
                  <a:lnTo>
                    <a:pt x="2416" y="1870"/>
                  </a:lnTo>
                  <a:lnTo>
                    <a:pt x="2414" y="1871"/>
                  </a:lnTo>
                  <a:lnTo>
                    <a:pt x="2412" y="1871"/>
                  </a:lnTo>
                  <a:lnTo>
                    <a:pt x="2382" y="1871"/>
                  </a:lnTo>
                  <a:lnTo>
                    <a:pt x="2380" y="1871"/>
                  </a:lnTo>
                  <a:lnTo>
                    <a:pt x="2378" y="1870"/>
                  </a:lnTo>
                  <a:lnTo>
                    <a:pt x="2376" y="1867"/>
                  </a:lnTo>
                  <a:lnTo>
                    <a:pt x="2375" y="1865"/>
                  </a:lnTo>
                  <a:lnTo>
                    <a:pt x="2375" y="1648"/>
                  </a:lnTo>
                  <a:lnTo>
                    <a:pt x="2376" y="1644"/>
                  </a:lnTo>
                  <a:lnTo>
                    <a:pt x="2379" y="1640"/>
                  </a:lnTo>
                  <a:lnTo>
                    <a:pt x="2381" y="1639"/>
                  </a:lnTo>
                  <a:lnTo>
                    <a:pt x="2386" y="1638"/>
                  </a:lnTo>
                  <a:lnTo>
                    <a:pt x="2398" y="1637"/>
                  </a:lnTo>
                  <a:lnTo>
                    <a:pt x="2413" y="1635"/>
                  </a:lnTo>
                  <a:lnTo>
                    <a:pt x="2428" y="1635"/>
                  </a:lnTo>
                  <a:lnTo>
                    <a:pt x="2444" y="1633"/>
                  </a:lnTo>
                  <a:lnTo>
                    <a:pt x="2461" y="1635"/>
                  </a:lnTo>
                  <a:lnTo>
                    <a:pt x="2477" y="1638"/>
                  </a:lnTo>
                  <a:lnTo>
                    <a:pt x="2485" y="1639"/>
                  </a:lnTo>
                  <a:lnTo>
                    <a:pt x="2492" y="1642"/>
                  </a:lnTo>
                  <a:lnTo>
                    <a:pt x="2498" y="1646"/>
                  </a:lnTo>
                  <a:lnTo>
                    <a:pt x="2504" y="1649"/>
                  </a:lnTo>
                  <a:lnTo>
                    <a:pt x="2510" y="1654"/>
                  </a:lnTo>
                  <a:lnTo>
                    <a:pt x="2516" y="1660"/>
                  </a:lnTo>
                  <a:lnTo>
                    <a:pt x="2519" y="1665"/>
                  </a:lnTo>
                  <a:lnTo>
                    <a:pt x="2523" y="1672"/>
                  </a:lnTo>
                  <a:lnTo>
                    <a:pt x="2526" y="1680"/>
                  </a:lnTo>
                  <a:lnTo>
                    <a:pt x="2528" y="1688"/>
                  </a:lnTo>
                  <a:lnTo>
                    <a:pt x="2530" y="1697"/>
                  </a:lnTo>
                  <a:lnTo>
                    <a:pt x="2530" y="1707"/>
                  </a:lnTo>
                  <a:lnTo>
                    <a:pt x="2530" y="1710"/>
                  </a:lnTo>
                  <a:close/>
                  <a:moveTo>
                    <a:pt x="2489" y="1707"/>
                  </a:moveTo>
                  <a:lnTo>
                    <a:pt x="2489" y="1707"/>
                  </a:lnTo>
                  <a:lnTo>
                    <a:pt x="2488" y="1698"/>
                  </a:lnTo>
                  <a:lnTo>
                    <a:pt x="2486" y="1690"/>
                  </a:lnTo>
                  <a:lnTo>
                    <a:pt x="2482" y="1683"/>
                  </a:lnTo>
                  <a:lnTo>
                    <a:pt x="2478" y="1679"/>
                  </a:lnTo>
                  <a:lnTo>
                    <a:pt x="2471" y="1675"/>
                  </a:lnTo>
                  <a:lnTo>
                    <a:pt x="2463" y="1672"/>
                  </a:lnTo>
                  <a:lnTo>
                    <a:pt x="2454" y="1671"/>
                  </a:lnTo>
                  <a:lnTo>
                    <a:pt x="2444" y="1670"/>
                  </a:lnTo>
                  <a:lnTo>
                    <a:pt x="2441" y="1671"/>
                  </a:lnTo>
                  <a:lnTo>
                    <a:pt x="2438" y="1671"/>
                  </a:lnTo>
                  <a:lnTo>
                    <a:pt x="2435" y="1671"/>
                  </a:lnTo>
                  <a:lnTo>
                    <a:pt x="2430" y="1671"/>
                  </a:lnTo>
                  <a:lnTo>
                    <a:pt x="2427" y="1671"/>
                  </a:lnTo>
                  <a:lnTo>
                    <a:pt x="2423" y="1671"/>
                  </a:lnTo>
                  <a:lnTo>
                    <a:pt x="2420" y="1671"/>
                  </a:lnTo>
                  <a:lnTo>
                    <a:pt x="2417" y="1672"/>
                  </a:lnTo>
                  <a:lnTo>
                    <a:pt x="2417" y="1747"/>
                  </a:lnTo>
                  <a:lnTo>
                    <a:pt x="2420" y="1747"/>
                  </a:lnTo>
                  <a:lnTo>
                    <a:pt x="2423" y="1747"/>
                  </a:lnTo>
                  <a:lnTo>
                    <a:pt x="2427" y="1747"/>
                  </a:lnTo>
                  <a:lnTo>
                    <a:pt x="2431" y="1747"/>
                  </a:lnTo>
                  <a:lnTo>
                    <a:pt x="2435" y="1747"/>
                  </a:lnTo>
                  <a:lnTo>
                    <a:pt x="2438" y="1748"/>
                  </a:lnTo>
                  <a:lnTo>
                    <a:pt x="2441" y="1748"/>
                  </a:lnTo>
                  <a:lnTo>
                    <a:pt x="2444" y="1748"/>
                  </a:lnTo>
                  <a:lnTo>
                    <a:pt x="2455" y="1747"/>
                  </a:lnTo>
                  <a:lnTo>
                    <a:pt x="2464" y="1746"/>
                  </a:lnTo>
                  <a:lnTo>
                    <a:pt x="2472" y="1742"/>
                  </a:lnTo>
                  <a:lnTo>
                    <a:pt x="2478" y="1738"/>
                  </a:lnTo>
                  <a:lnTo>
                    <a:pt x="2482" y="1733"/>
                  </a:lnTo>
                  <a:lnTo>
                    <a:pt x="2486" y="1727"/>
                  </a:lnTo>
                  <a:lnTo>
                    <a:pt x="2488" y="1719"/>
                  </a:lnTo>
                  <a:lnTo>
                    <a:pt x="2489" y="1710"/>
                  </a:lnTo>
                  <a:lnTo>
                    <a:pt x="2489" y="1707"/>
                  </a:lnTo>
                  <a:close/>
                  <a:moveTo>
                    <a:pt x="2334" y="1865"/>
                  </a:moveTo>
                  <a:lnTo>
                    <a:pt x="2334" y="1867"/>
                  </a:lnTo>
                  <a:lnTo>
                    <a:pt x="2332" y="1870"/>
                  </a:lnTo>
                  <a:lnTo>
                    <a:pt x="2331" y="1871"/>
                  </a:lnTo>
                  <a:lnTo>
                    <a:pt x="2329" y="1871"/>
                  </a:lnTo>
                  <a:lnTo>
                    <a:pt x="2299" y="1871"/>
                  </a:lnTo>
                  <a:lnTo>
                    <a:pt x="2297" y="1871"/>
                  </a:lnTo>
                  <a:lnTo>
                    <a:pt x="2294" y="1870"/>
                  </a:lnTo>
                  <a:lnTo>
                    <a:pt x="2293" y="1867"/>
                  </a:lnTo>
                  <a:lnTo>
                    <a:pt x="2293" y="1865"/>
                  </a:lnTo>
                  <a:lnTo>
                    <a:pt x="2293" y="1691"/>
                  </a:lnTo>
                  <a:lnTo>
                    <a:pt x="2292" y="1683"/>
                  </a:lnTo>
                  <a:lnTo>
                    <a:pt x="2290" y="1679"/>
                  </a:lnTo>
                  <a:lnTo>
                    <a:pt x="2286" y="1677"/>
                  </a:lnTo>
                  <a:lnTo>
                    <a:pt x="2281" y="1675"/>
                  </a:lnTo>
                  <a:lnTo>
                    <a:pt x="2220" y="1675"/>
                  </a:lnTo>
                  <a:lnTo>
                    <a:pt x="2215" y="1677"/>
                  </a:lnTo>
                  <a:lnTo>
                    <a:pt x="2211" y="1679"/>
                  </a:lnTo>
                  <a:lnTo>
                    <a:pt x="2209" y="1683"/>
                  </a:lnTo>
                  <a:lnTo>
                    <a:pt x="2208" y="1691"/>
                  </a:lnTo>
                  <a:lnTo>
                    <a:pt x="2208" y="1865"/>
                  </a:lnTo>
                  <a:lnTo>
                    <a:pt x="2208" y="1867"/>
                  </a:lnTo>
                  <a:lnTo>
                    <a:pt x="2207" y="1870"/>
                  </a:lnTo>
                  <a:lnTo>
                    <a:pt x="2204" y="1871"/>
                  </a:lnTo>
                  <a:lnTo>
                    <a:pt x="2202" y="1871"/>
                  </a:lnTo>
                  <a:lnTo>
                    <a:pt x="2172" y="1871"/>
                  </a:lnTo>
                  <a:lnTo>
                    <a:pt x="2170" y="1871"/>
                  </a:lnTo>
                  <a:lnTo>
                    <a:pt x="2168" y="1870"/>
                  </a:lnTo>
                  <a:lnTo>
                    <a:pt x="2167" y="1867"/>
                  </a:lnTo>
                  <a:lnTo>
                    <a:pt x="2167" y="1865"/>
                  </a:lnTo>
                  <a:lnTo>
                    <a:pt x="2167" y="1691"/>
                  </a:lnTo>
                  <a:lnTo>
                    <a:pt x="2168" y="1678"/>
                  </a:lnTo>
                  <a:lnTo>
                    <a:pt x="2170" y="1666"/>
                  </a:lnTo>
                  <a:lnTo>
                    <a:pt x="2171" y="1662"/>
                  </a:lnTo>
                  <a:lnTo>
                    <a:pt x="2173" y="1657"/>
                  </a:lnTo>
                  <a:lnTo>
                    <a:pt x="2176" y="1653"/>
                  </a:lnTo>
                  <a:lnTo>
                    <a:pt x="2179" y="1649"/>
                  </a:lnTo>
                  <a:lnTo>
                    <a:pt x="2183" y="1646"/>
                  </a:lnTo>
                  <a:lnTo>
                    <a:pt x="2186" y="1644"/>
                  </a:lnTo>
                  <a:lnTo>
                    <a:pt x="2191" y="1641"/>
                  </a:lnTo>
                  <a:lnTo>
                    <a:pt x="2195" y="1640"/>
                  </a:lnTo>
                  <a:lnTo>
                    <a:pt x="2207" y="1637"/>
                  </a:lnTo>
                  <a:lnTo>
                    <a:pt x="2220" y="1637"/>
                  </a:lnTo>
                  <a:lnTo>
                    <a:pt x="2281" y="1637"/>
                  </a:lnTo>
                  <a:lnTo>
                    <a:pt x="2293" y="1637"/>
                  </a:lnTo>
                  <a:lnTo>
                    <a:pt x="2305" y="1640"/>
                  </a:lnTo>
                  <a:lnTo>
                    <a:pt x="2310" y="1641"/>
                  </a:lnTo>
                  <a:lnTo>
                    <a:pt x="2315" y="1644"/>
                  </a:lnTo>
                  <a:lnTo>
                    <a:pt x="2318" y="1646"/>
                  </a:lnTo>
                  <a:lnTo>
                    <a:pt x="2322" y="1649"/>
                  </a:lnTo>
                  <a:lnTo>
                    <a:pt x="2325" y="1653"/>
                  </a:lnTo>
                  <a:lnTo>
                    <a:pt x="2327" y="1657"/>
                  </a:lnTo>
                  <a:lnTo>
                    <a:pt x="2330" y="1662"/>
                  </a:lnTo>
                  <a:lnTo>
                    <a:pt x="2331" y="1666"/>
                  </a:lnTo>
                  <a:lnTo>
                    <a:pt x="2333" y="1678"/>
                  </a:lnTo>
                  <a:lnTo>
                    <a:pt x="2334" y="1691"/>
                  </a:lnTo>
                  <a:lnTo>
                    <a:pt x="2334" y="1865"/>
                  </a:lnTo>
                  <a:close/>
                  <a:moveTo>
                    <a:pt x="1894" y="1867"/>
                  </a:moveTo>
                  <a:lnTo>
                    <a:pt x="1894" y="1866"/>
                  </a:lnTo>
                  <a:lnTo>
                    <a:pt x="1895" y="1865"/>
                  </a:lnTo>
                  <a:lnTo>
                    <a:pt x="1942" y="1773"/>
                  </a:lnTo>
                  <a:lnTo>
                    <a:pt x="1933" y="1769"/>
                  </a:lnTo>
                  <a:lnTo>
                    <a:pt x="1925" y="1763"/>
                  </a:lnTo>
                  <a:lnTo>
                    <a:pt x="1918" y="1757"/>
                  </a:lnTo>
                  <a:lnTo>
                    <a:pt x="1912" y="1749"/>
                  </a:lnTo>
                  <a:lnTo>
                    <a:pt x="1908" y="1741"/>
                  </a:lnTo>
                  <a:lnTo>
                    <a:pt x="1904" y="1731"/>
                  </a:lnTo>
                  <a:lnTo>
                    <a:pt x="1902" y="1721"/>
                  </a:lnTo>
                  <a:lnTo>
                    <a:pt x="1901" y="1708"/>
                  </a:lnTo>
                  <a:lnTo>
                    <a:pt x="1901" y="1705"/>
                  </a:lnTo>
                  <a:lnTo>
                    <a:pt x="1902" y="1696"/>
                  </a:lnTo>
                  <a:lnTo>
                    <a:pt x="1903" y="1687"/>
                  </a:lnTo>
                  <a:lnTo>
                    <a:pt x="1906" y="1679"/>
                  </a:lnTo>
                  <a:lnTo>
                    <a:pt x="1908" y="1671"/>
                  </a:lnTo>
                  <a:lnTo>
                    <a:pt x="1912" y="1665"/>
                  </a:lnTo>
                  <a:lnTo>
                    <a:pt x="1917" y="1660"/>
                  </a:lnTo>
                  <a:lnTo>
                    <a:pt x="1922" y="1654"/>
                  </a:lnTo>
                  <a:lnTo>
                    <a:pt x="1927" y="1649"/>
                  </a:lnTo>
                  <a:lnTo>
                    <a:pt x="1933" y="1646"/>
                  </a:lnTo>
                  <a:lnTo>
                    <a:pt x="1940" y="1642"/>
                  </a:lnTo>
                  <a:lnTo>
                    <a:pt x="1947" y="1640"/>
                  </a:lnTo>
                  <a:lnTo>
                    <a:pt x="1955" y="1638"/>
                  </a:lnTo>
                  <a:lnTo>
                    <a:pt x="1971" y="1635"/>
                  </a:lnTo>
                  <a:lnTo>
                    <a:pt x="1988" y="1633"/>
                  </a:lnTo>
                  <a:lnTo>
                    <a:pt x="2004" y="1635"/>
                  </a:lnTo>
                  <a:lnTo>
                    <a:pt x="2018" y="1635"/>
                  </a:lnTo>
                  <a:lnTo>
                    <a:pt x="2033" y="1637"/>
                  </a:lnTo>
                  <a:lnTo>
                    <a:pt x="2046" y="1638"/>
                  </a:lnTo>
                  <a:lnTo>
                    <a:pt x="2050" y="1639"/>
                  </a:lnTo>
                  <a:lnTo>
                    <a:pt x="2053" y="1640"/>
                  </a:lnTo>
                  <a:lnTo>
                    <a:pt x="2055" y="1644"/>
                  </a:lnTo>
                  <a:lnTo>
                    <a:pt x="2055" y="1648"/>
                  </a:lnTo>
                  <a:lnTo>
                    <a:pt x="2055" y="1865"/>
                  </a:lnTo>
                  <a:lnTo>
                    <a:pt x="2055" y="1867"/>
                  </a:lnTo>
                  <a:lnTo>
                    <a:pt x="2054" y="1870"/>
                  </a:lnTo>
                  <a:lnTo>
                    <a:pt x="2051" y="1871"/>
                  </a:lnTo>
                  <a:lnTo>
                    <a:pt x="2049" y="1871"/>
                  </a:lnTo>
                  <a:lnTo>
                    <a:pt x="2020" y="1871"/>
                  </a:lnTo>
                  <a:lnTo>
                    <a:pt x="2017" y="1871"/>
                  </a:lnTo>
                  <a:lnTo>
                    <a:pt x="2015" y="1870"/>
                  </a:lnTo>
                  <a:lnTo>
                    <a:pt x="2014" y="1867"/>
                  </a:lnTo>
                  <a:lnTo>
                    <a:pt x="2014" y="1865"/>
                  </a:lnTo>
                  <a:lnTo>
                    <a:pt x="2014" y="1780"/>
                  </a:lnTo>
                  <a:lnTo>
                    <a:pt x="2008" y="1780"/>
                  </a:lnTo>
                  <a:lnTo>
                    <a:pt x="2001" y="1780"/>
                  </a:lnTo>
                  <a:lnTo>
                    <a:pt x="1993" y="1781"/>
                  </a:lnTo>
                  <a:lnTo>
                    <a:pt x="1988" y="1781"/>
                  </a:lnTo>
                  <a:lnTo>
                    <a:pt x="1983" y="1781"/>
                  </a:lnTo>
                  <a:lnTo>
                    <a:pt x="1941" y="1865"/>
                  </a:lnTo>
                  <a:lnTo>
                    <a:pt x="1940" y="1867"/>
                  </a:lnTo>
                  <a:lnTo>
                    <a:pt x="1937" y="1870"/>
                  </a:lnTo>
                  <a:lnTo>
                    <a:pt x="1936" y="1871"/>
                  </a:lnTo>
                  <a:lnTo>
                    <a:pt x="1934" y="1871"/>
                  </a:lnTo>
                  <a:lnTo>
                    <a:pt x="1898" y="1871"/>
                  </a:lnTo>
                  <a:lnTo>
                    <a:pt x="1896" y="1871"/>
                  </a:lnTo>
                  <a:lnTo>
                    <a:pt x="1895" y="1871"/>
                  </a:lnTo>
                  <a:lnTo>
                    <a:pt x="1894" y="1870"/>
                  </a:lnTo>
                  <a:lnTo>
                    <a:pt x="1894" y="1867"/>
                  </a:lnTo>
                  <a:close/>
                  <a:moveTo>
                    <a:pt x="1943" y="1708"/>
                  </a:moveTo>
                  <a:lnTo>
                    <a:pt x="1943" y="1708"/>
                  </a:lnTo>
                  <a:lnTo>
                    <a:pt x="1943" y="1717"/>
                  </a:lnTo>
                  <a:lnTo>
                    <a:pt x="1945" y="1725"/>
                  </a:lnTo>
                  <a:lnTo>
                    <a:pt x="1949" y="1732"/>
                  </a:lnTo>
                  <a:lnTo>
                    <a:pt x="1953" y="1737"/>
                  </a:lnTo>
                  <a:lnTo>
                    <a:pt x="1959" y="1740"/>
                  </a:lnTo>
                  <a:lnTo>
                    <a:pt x="1967" y="1742"/>
                  </a:lnTo>
                  <a:lnTo>
                    <a:pt x="1976" y="1745"/>
                  </a:lnTo>
                  <a:lnTo>
                    <a:pt x="1988" y="1745"/>
                  </a:lnTo>
                  <a:lnTo>
                    <a:pt x="1990" y="1745"/>
                  </a:lnTo>
                  <a:lnTo>
                    <a:pt x="1993" y="1745"/>
                  </a:lnTo>
                  <a:lnTo>
                    <a:pt x="1997" y="1745"/>
                  </a:lnTo>
                  <a:lnTo>
                    <a:pt x="2000" y="1745"/>
                  </a:lnTo>
                  <a:lnTo>
                    <a:pt x="2005" y="1745"/>
                  </a:lnTo>
                  <a:lnTo>
                    <a:pt x="2008" y="1744"/>
                  </a:lnTo>
                  <a:lnTo>
                    <a:pt x="2012" y="1744"/>
                  </a:lnTo>
                  <a:lnTo>
                    <a:pt x="2014" y="1744"/>
                  </a:lnTo>
                  <a:lnTo>
                    <a:pt x="2014" y="1673"/>
                  </a:lnTo>
                  <a:lnTo>
                    <a:pt x="2012" y="1672"/>
                  </a:lnTo>
                  <a:lnTo>
                    <a:pt x="2008" y="1672"/>
                  </a:lnTo>
                  <a:lnTo>
                    <a:pt x="2005" y="1672"/>
                  </a:lnTo>
                  <a:lnTo>
                    <a:pt x="2001" y="1672"/>
                  </a:lnTo>
                  <a:lnTo>
                    <a:pt x="1997" y="1672"/>
                  </a:lnTo>
                  <a:lnTo>
                    <a:pt x="1993" y="1672"/>
                  </a:lnTo>
                  <a:lnTo>
                    <a:pt x="1990" y="1672"/>
                  </a:lnTo>
                  <a:lnTo>
                    <a:pt x="1988" y="1672"/>
                  </a:lnTo>
                  <a:lnTo>
                    <a:pt x="1977" y="1672"/>
                  </a:lnTo>
                  <a:lnTo>
                    <a:pt x="1968" y="1673"/>
                  </a:lnTo>
                  <a:lnTo>
                    <a:pt x="1960" y="1677"/>
                  </a:lnTo>
                  <a:lnTo>
                    <a:pt x="1955" y="1680"/>
                  </a:lnTo>
                  <a:lnTo>
                    <a:pt x="1949" y="1685"/>
                  </a:lnTo>
                  <a:lnTo>
                    <a:pt x="1945" y="1690"/>
                  </a:lnTo>
                  <a:lnTo>
                    <a:pt x="1943" y="1697"/>
                  </a:lnTo>
                  <a:lnTo>
                    <a:pt x="1943" y="1705"/>
                  </a:lnTo>
                  <a:lnTo>
                    <a:pt x="1943" y="1708"/>
                  </a:lnTo>
                  <a:close/>
                  <a:moveTo>
                    <a:pt x="1872" y="1866"/>
                  </a:moveTo>
                  <a:lnTo>
                    <a:pt x="1871" y="1869"/>
                  </a:lnTo>
                  <a:lnTo>
                    <a:pt x="1870" y="1870"/>
                  </a:lnTo>
                  <a:lnTo>
                    <a:pt x="1869" y="1871"/>
                  </a:lnTo>
                  <a:lnTo>
                    <a:pt x="1867" y="1871"/>
                  </a:lnTo>
                  <a:lnTo>
                    <a:pt x="1835" y="1871"/>
                  </a:lnTo>
                  <a:lnTo>
                    <a:pt x="1833" y="1871"/>
                  </a:lnTo>
                  <a:lnTo>
                    <a:pt x="1831" y="1870"/>
                  </a:lnTo>
                  <a:lnTo>
                    <a:pt x="1830" y="1869"/>
                  </a:lnTo>
                  <a:lnTo>
                    <a:pt x="1829" y="1866"/>
                  </a:lnTo>
                  <a:lnTo>
                    <a:pt x="1815" y="1806"/>
                  </a:lnTo>
                  <a:lnTo>
                    <a:pt x="1747" y="1806"/>
                  </a:lnTo>
                  <a:lnTo>
                    <a:pt x="1733" y="1866"/>
                  </a:lnTo>
                  <a:lnTo>
                    <a:pt x="1732" y="1869"/>
                  </a:lnTo>
                  <a:lnTo>
                    <a:pt x="1731" y="1870"/>
                  </a:lnTo>
                  <a:lnTo>
                    <a:pt x="1729" y="1871"/>
                  </a:lnTo>
                  <a:lnTo>
                    <a:pt x="1728" y="1871"/>
                  </a:lnTo>
                  <a:lnTo>
                    <a:pt x="1696" y="1871"/>
                  </a:lnTo>
                  <a:lnTo>
                    <a:pt x="1693" y="1871"/>
                  </a:lnTo>
                  <a:lnTo>
                    <a:pt x="1692" y="1870"/>
                  </a:lnTo>
                  <a:lnTo>
                    <a:pt x="1691" y="1869"/>
                  </a:lnTo>
                  <a:lnTo>
                    <a:pt x="1690" y="1866"/>
                  </a:lnTo>
                  <a:lnTo>
                    <a:pt x="1690" y="1865"/>
                  </a:lnTo>
                  <a:lnTo>
                    <a:pt x="1690" y="1865"/>
                  </a:lnTo>
                  <a:lnTo>
                    <a:pt x="1691" y="1865"/>
                  </a:lnTo>
                  <a:lnTo>
                    <a:pt x="1691" y="1864"/>
                  </a:lnTo>
                  <a:lnTo>
                    <a:pt x="1740" y="1666"/>
                  </a:lnTo>
                  <a:lnTo>
                    <a:pt x="1743" y="1656"/>
                  </a:lnTo>
                  <a:lnTo>
                    <a:pt x="1747" y="1649"/>
                  </a:lnTo>
                  <a:lnTo>
                    <a:pt x="1753" y="1644"/>
                  </a:lnTo>
                  <a:lnTo>
                    <a:pt x="1758" y="1639"/>
                  </a:lnTo>
                  <a:lnTo>
                    <a:pt x="1764" y="1637"/>
                  </a:lnTo>
                  <a:lnTo>
                    <a:pt x="1770" y="1635"/>
                  </a:lnTo>
                  <a:lnTo>
                    <a:pt x="1776" y="1635"/>
                  </a:lnTo>
                  <a:lnTo>
                    <a:pt x="1781" y="1633"/>
                  </a:lnTo>
                  <a:lnTo>
                    <a:pt x="1786" y="1635"/>
                  </a:lnTo>
                  <a:lnTo>
                    <a:pt x="1792" y="1635"/>
                  </a:lnTo>
                  <a:lnTo>
                    <a:pt x="1798" y="1637"/>
                  </a:lnTo>
                  <a:lnTo>
                    <a:pt x="1804" y="1639"/>
                  </a:lnTo>
                  <a:lnTo>
                    <a:pt x="1810" y="1644"/>
                  </a:lnTo>
                  <a:lnTo>
                    <a:pt x="1814" y="1649"/>
                  </a:lnTo>
                  <a:lnTo>
                    <a:pt x="1819" y="1656"/>
                  </a:lnTo>
                  <a:lnTo>
                    <a:pt x="1822" y="1666"/>
                  </a:lnTo>
                  <a:lnTo>
                    <a:pt x="1871" y="1864"/>
                  </a:lnTo>
                  <a:lnTo>
                    <a:pt x="1871" y="1865"/>
                  </a:lnTo>
                  <a:lnTo>
                    <a:pt x="1871" y="1865"/>
                  </a:lnTo>
                  <a:lnTo>
                    <a:pt x="1871" y="1865"/>
                  </a:lnTo>
                  <a:lnTo>
                    <a:pt x="1872" y="1866"/>
                  </a:lnTo>
                  <a:close/>
                  <a:moveTo>
                    <a:pt x="1786" y="1677"/>
                  </a:moveTo>
                  <a:lnTo>
                    <a:pt x="1786" y="1677"/>
                  </a:lnTo>
                  <a:lnTo>
                    <a:pt x="1786" y="1673"/>
                  </a:lnTo>
                  <a:lnTo>
                    <a:pt x="1785" y="1672"/>
                  </a:lnTo>
                  <a:lnTo>
                    <a:pt x="1784" y="1671"/>
                  </a:lnTo>
                  <a:lnTo>
                    <a:pt x="1781" y="1671"/>
                  </a:lnTo>
                  <a:lnTo>
                    <a:pt x="1779" y="1671"/>
                  </a:lnTo>
                  <a:lnTo>
                    <a:pt x="1778" y="1672"/>
                  </a:lnTo>
                  <a:lnTo>
                    <a:pt x="1777" y="1673"/>
                  </a:lnTo>
                  <a:lnTo>
                    <a:pt x="1777" y="1677"/>
                  </a:lnTo>
                  <a:lnTo>
                    <a:pt x="1755" y="1770"/>
                  </a:lnTo>
                  <a:lnTo>
                    <a:pt x="1807" y="1770"/>
                  </a:lnTo>
                  <a:lnTo>
                    <a:pt x="1786" y="1677"/>
                  </a:lnTo>
                  <a:close/>
                  <a:moveTo>
                    <a:pt x="1670" y="1869"/>
                  </a:moveTo>
                  <a:lnTo>
                    <a:pt x="1670" y="1870"/>
                  </a:lnTo>
                  <a:lnTo>
                    <a:pt x="1668" y="1871"/>
                  </a:lnTo>
                  <a:lnTo>
                    <a:pt x="1667" y="1871"/>
                  </a:lnTo>
                  <a:lnTo>
                    <a:pt x="1665" y="1871"/>
                  </a:lnTo>
                  <a:lnTo>
                    <a:pt x="1625" y="1871"/>
                  </a:lnTo>
                  <a:lnTo>
                    <a:pt x="1621" y="1871"/>
                  </a:lnTo>
                  <a:lnTo>
                    <a:pt x="1618" y="1867"/>
                  </a:lnTo>
                  <a:lnTo>
                    <a:pt x="1550" y="1760"/>
                  </a:lnTo>
                  <a:lnTo>
                    <a:pt x="1550" y="1865"/>
                  </a:lnTo>
                  <a:lnTo>
                    <a:pt x="1550" y="1867"/>
                  </a:lnTo>
                  <a:lnTo>
                    <a:pt x="1549" y="1870"/>
                  </a:lnTo>
                  <a:lnTo>
                    <a:pt x="1546" y="1871"/>
                  </a:lnTo>
                  <a:lnTo>
                    <a:pt x="1544" y="1871"/>
                  </a:lnTo>
                  <a:lnTo>
                    <a:pt x="1514" y="1871"/>
                  </a:lnTo>
                  <a:lnTo>
                    <a:pt x="1512" y="1871"/>
                  </a:lnTo>
                  <a:lnTo>
                    <a:pt x="1510" y="1870"/>
                  </a:lnTo>
                  <a:lnTo>
                    <a:pt x="1509" y="1867"/>
                  </a:lnTo>
                  <a:lnTo>
                    <a:pt x="1509" y="1865"/>
                  </a:lnTo>
                  <a:lnTo>
                    <a:pt x="1509" y="1642"/>
                  </a:lnTo>
                  <a:lnTo>
                    <a:pt x="1509" y="1640"/>
                  </a:lnTo>
                  <a:lnTo>
                    <a:pt x="1510" y="1639"/>
                  </a:lnTo>
                  <a:lnTo>
                    <a:pt x="1512" y="1637"/>
                  </a:lnTo>
                  <a:lnTo>
                    <a:pt x="1514" y="1637"/>
                  </a:lnTo>
                  <a:lnTo>
                    <a:pt x="1544" y="1637"/>
                  </a:lnTo>
                  <a:lnTo>
                    <a:pt x="1546" y="1637"/>
                  </a:lnTo>
                  <a:lnTo>
                    <a:pt x="1549" y="1639"/>
                  </a:lnTo>
                  <a:lnTo>
                    <a:pt x="1550" y="1640"/>
                  </a:lnTo>
                  <a:lnTo>
                    <a:pt x="1550" y="1642"/>
                  </a:lnTo>
                  <a:lnTo>
                    <a:pt x="1550" y="1744"/>
                  </a:lnTo>
                  <a:lnTo>
                    <a:pt x="1623" y="1639"/>
                  </a:lnTo>
                  <a:lnTo>
                    <a:pt x="1624" y="1638"/>
                  </a:lnTo>
                  <a:lnTo>
                    <a:pt x="1626" y="1637"/>
                  </a:lnTo>
                  <a:lnTo>
                    <a:pt x="1627" y="1637"/>
                  </a:lnTo>
                  <a:lnTo>
                    <a:pt x="1630" y="1637"/>
                  </a:lnTo>
                  <a:lnTo>
                    <a:pt x="1664" y="1637"/>
                  </a:lnTo>
                  <a:lnTo>
                    <a:pt x="1666" y="1637"/>
                  </a:lnTo>
                  <a:lnTo>
                    <a:pt x="1668" y="1638"/>
                  </a:lnTo>
                  <a:lnTo>
                    <a:pt x="1670" y="1639"/>
                  </a:lnTo>
                  <a:lnTo>
                    <a:pt x="1670" y="1640"/>
                  </a:lnTo>
                  <a:lnTo>
                    <a:pt x="1670" y="1642"/>
                  </a:lnTo>
                  <a:lnTo>
                    <a:pt x="1667" y="1646"/>
                  </a:lnTo>
                  <a:lnTo>
                    <a:pt x="1591" y="1750"/>
                  </a:lnTo>
                  <a:lnTo>
                    <a:pt x="1668" y="1865"/>
                  </a:lnTo>
                  <a:lnTo>
                    <a:pt x="1670" y="1867"/>
                  </a:lnTo>
                  <a:lnTo>
                    <a:pt x="1670" y="1869"/>
                  </a:lnTo>
                  <a:close/>
                  <a:moveTo>
                    <a:pt x="1475" y="1866"/>
                  </a:moveTo>
                  <a:lnTo>
                    <a:pt x="1472" y="1867"/>
                  </a:lnTo>
                  <a:lnTo>
                    <a:pt x="1470" y="1869"/>
                  </a:lnTo>
                  <a:lnTo>
                    <a:pt x="1468" y="1870"/>
                  </a:lnTo>
                  <a:lnTo>
                    <a:pt x="1464" y="1871"/>
                  </a:lnTo>
                  <a:lnTo>
                    <a:pt x="1459" y="1871"/>
                  </a:lnTo>
                  <a:lnTo>
                    <a:pt x="1453" y="1872"/>
                  </a:lnTo>
                  <a:lnTo>
                    <a:pt x="1446" y="1873"/>
                  </a:lnTo>
                  <a:lnTo>
                    <a:pt x="1439" y="1873"/>
                  </a:lnTo>
                  <a:lnTo>
                    <a:pt x="1431" y="1874"/>
                  </a:lnTo>
                  <a:lnTo>
                    <a:pt x="1423" y="1874"/>
                  </a:lnTo>
                  <a:lnTo>
                    <a:pt x="1408" y="1873"/>
                  </a:lnTo>
                  <a:lnTo>
                    <a:pt x="1395" y="1870"/>
                  </a:lnTo>
                  <a:lnTo>
                    <a:pt x="1387" y="1867"/>
                  </a:lnTo>
                  <a:lnTo>
                    <a:pt x="1380" y="1864"/>
                  </a:lnTo>
                  <a:lnTo>
                    <a:pt x="1373" y="1859"/>
                  </a:lnTo>
                  <a:lnTo>
                    <a:pt x="1367" y="1855"/>
                  </a:lnTo>
                  <a:lnTo>
                    <a:pt x="1362" y="1849"/>
                  </a:lnTo>
                  <a:lnTo>
                    <a:pt x="1356" y="1842"/>
                  </a:lnTo>
                  <a:lnTo>
                    <a:pt x="1351" y="1834"/>
                  </a:lnTo>
                  <a:lnTo>
                    <a:pt x="1347" y="1825"/>
                  </a:lnTo>
                  <a:lnTo>
                    <a:pt x="1343" y="1815"/>
                  </a:lnTo>
                  <a:lnTo>
                    <a:pt x="1340" y="1804"/>
                  </a:lnTo>
                  <a:lnTo>
                    <a:pt x="1339" y="1791"/>
                  </a:lnTo>
                  <a:lnTo>
                    <a:pt x="1339" y="1778"/>
                  </a:lnTo>
                  <a:lnTo>
                    <a:pt x="1339" y="1731"/>
                  </a:lnTo>
                  <a:lnTo>
                    <a:pt x="1339" y="1716"/>
                  </a:lnTo>
                  <a:lnTo>
                    <a:pt x="1340" y="1704"/>
                  </a:lnTo>
                  <a:lnTo>
                    <a:pt x="1343" y="1692"/>
                  </a:lnTo>
                  <a:lnTo>
                    <a:pt x="1347" y="1682"/>
                  </a:lnTo>
                  <a:lnTo>
                    <a:pt x="1351" y="1673"/>
                  </a:lnTo>
                  <a:lnTo>
                    <a:pt x="1356" y="1665"/>
                  </a:lnTo>
                  <a:lnTo>
                    <a:pt x="1362" y="1658"/>
                  </a:lnTo>
                  <a:lnTo>
                    <a:pt x="1367" y="1653"/>
                  </a:lnTo>
                  <a:lnTo>
                    <a:pt x="1373" y="1648"/>
                  </a:lnTo>
                  <a:lnTo>
                    <a:pt x="1380" y="1644"/>
                  </a:lnTo>
                  <a:lnTo>
                    <a:pt x="1387" y="1640"/>
                  </a:lnTo>
                  <a:lnTo>
                    <a:pt x="1395" y="1638"/>
                  </a:lnTo>
                  <a:lnTo>
                    <a:pt x="1408" y="1635"/>
                  </a:lnTo>
                  <a:lnTo>
                    <a:pt x="1423" y="1633"/>
                  </a:lnTo>
                  <a:lnTo>
                    <a:pt x="1431" y="1635"/>
                  </a:lnTo>
                  <a:lnTo>
                    <a:pt x="1439" y="1635"/>
                  </a:lnTo>
                  <a:lnTo>
                    <a:pt x="1446" y="1636"/>
                  </a:lnTo>
                  <a:lnTo>
                    <a:pt x="1453" y="1636"/>
                  </a:lnTo>
                  <a:lnTo>
                    <a:pt x="1459" y="1637"/>
                  </a:lnTo>
                  <a:lnTo>
                    <a:pt x="1464" y="1638"/>
                  </a:lnTo>
                  <a:lnTo>
                    <a:pt x="1468" y="1639"/>
                  </a:lnTo>
                  <a:lnTo>
                    <a:pt x="1470" y="1639"/>
                  </a:lnTo>
                  <a:lnTo>
                    <a:pt x="1472" y="1640"/>
                  </a:lnTo>
                  <a:lnTo>
                    <a:pt x="1475" y="1641"/>
                  </a:lnTo>
                  <a:lnTo>
                    <a:pt x="1476" y="1644"/>
                  </a:lnTo>
                  <a:lnTo>
                    <a:pt x="1477" y="1646"/>
                  </a:lnTo>
                  <a:lnTo>
                    <a:pt x="1477" y="1667"/>
                  </a:lnTo>
                  <a:lnTo>
                    <a:pt x="1476" y="1670"/>
                  </a:lnTo>
                  <a:lnTo>
                    <a:pt x="1476" y="1672"/>
                  </a:lnTo>
                  <a:lnTo>
                    <a:pt x="1473" y="1673"/>
                  </a:lnTo>
                  <a:lnTo>
                    <a:pt x="1470" y="1674"/>
                  </a:lnTo>
                  <a:lnTo>
                    <a:pt x="1470" y="1674"/>
                  </a:lnTo>
                  <a:lnTo>
                    <a:pt x="1465" y="1674"/>
                  </a:lnTo>
                  <a:lnTo>
                    <a:pt x="1461" y="1673"/>
                  </a:lnTo>
                  <a:lnTo>
                    <a:pt x="1455" y="1673"/>
                  </a:lnTo>
                  <a:lnTo>
                    <a:pt x="1448" y="1672"/>
                  </a:lnTo>
                  <a:lnTo>
                    <a:pt x="1443" y="1672"/>
                  </a:lnTo>
                  <a:lnTo>
                    <a:pt x="1436" y="1672"/>
                  </a:lnTo>
                  <a:lnTo>
                    <a:pt x="1429" y="1672"/>
                  </a:lnTo>
                  <a:lnTo>
                    <a:pt x="1423" y="1672"/>
                  </a:lnTo>
                  <a:lnTo>
                    <a:pt x="1414" y="1672"/>
                  </a:lnTo>
                  <a:lnTo>
                    <a:pt x="1406" y="1674"/>
                  </a:lnTo>
                  <a:lnTo>
                    <a:pt x="1398" y="1679"/>
                  </a:lnTo>
                  <a:lnTo>
                    <a:pt x="1392" y="1685"/>
                  </a:lnTo>
                  <a:lnTo>
                    <a:pt x="1387" y="1692"/>
                  </a:lnTo>
                  <a:lnTo>
                    <a:pt x="1383" y="1703"/>
                  </a:lnTo>
                  <a:lnTo>
                    <a:pt x="1381" y="1715"/>
                  </a:lnTo>
                  <a:lnTo>
                    <a:pt x="1380" y="1731"/>
                  </a:lnTo>
                  <a:lnTo>
                    <a:pt x="1380" y="1778"/>
                  </a:lnTo>
                  <a:lnTo>
                    <a:pt x="1381" y="1792"/>
                  </a:lnTo>
                  <a:lnTo>
                    <a:pt x="1383" y="1805"/>
                  </a:lnTo>
                  <a:lnTo>
                    <a:pt x="1387" y="1815"/>
                  </a:lnTo>
                  <a:lnTo>
                    <a:pt x="1392" y="1823"/>
                  </a:lnTo>
                  <a:lnTo>
                    <a:pt x="1395" y="1827"/>
                  </a:lnTo>
                  <a:lnTo>
                    <a:pt x="1398" y="1829"/>
                  </a:lnTo>
                  <a:lnTo>
                    <a:pt x="1402" y="1831"/>
                  </a:lnTo>
                  <a:lnTo>
                    <a:pt x="1406" y="1833"/>
                  </a:lnTo>
                  <a:lnTo>
                    <a:pt x="1414" y="1836"/>
                  </a:lnTo>
                  <a:lnTo>
                    <a:pt x="1423" y="1837"/>
                  </a:lnTo>
                  <a:lnTo>
                    <a:pt x="1429" y="1837"/>
                  </a:lnTo>
                  <a:lnTo>
                    <a:pt x="1436" y="1836"/>
                  </a:lnTo>
                  <a:lnTo>
                    <a:pt x="1443" y="1836"/>
                  </a:lnTo>
                  <a:lnTo>
                    <a:pt x="1448" y="1836"/>
                  </a:lnTo>
                  <a:lnTo>
                    <a:pt x="1455" y="1834"/>
                  </a:lnTo>
                  <a:lnTo>
                    <a:pt x="1461" y="1834"/>
                  </a:lnTo>
                  <a:lnTo>
                    <a:pt x="1465" y="1834"/>
                  </a:lnTo>
                  <a:lnTo>
                    <a:pt x="1470" y="1833"/>
                  </a:lnTo>
                  <a:lnTo>
                    <a:pt x="1470" y="1833"/>
                  </a:lnTo>
                  <a:lnTo>
                    <a:pt x="1473" y="1834"/>
                  </a:lnTo>
                  <a:lnTo>
                    <a:pt x="1476" y="1836"/>
                  </a:lnTo>
                  <a:lnTo>
                    <a:pt x="1476" y="1838"/>
                  </a:lnTo>
                  <a:lnTo>
                    <a:pt x="1477" y="1840"/>
                  </a:lnTo>
                  <a:lnTo>
                    <a:pt x="1477" y="1862"/>
                  </a:lnTo>
                  <a:lnTo>
                    <a:pt x="1476" y="1864"/>
                  </a:lnTo>
                  <a:lnTo>
                    <a:pt x="1475" y="1866"/>
                  </a:lnTo>
                  <a:close/>
                  <a:moveTo>
                    <a:pt x="1308" y="1867"/>
                  </a:moveTo>
                  <a:lnTo>
                    <a:pt x="1306" y="1869"/>
                  </a:lnTo>
                  <a:lnTo>
                    <a:pt x="1304" y="1870"/>
                  </a:lnTo>
                  <a:lnTo>
                    <a:pt x="1300" y="1870"/>
                  </a:lnTo>
                  <a:lnTo>
                    <a:pt x="1296" y="1871"/>
                  </a:lnTo>
                  <a:lnTo>
                    <a:pt x="1291" y="1872"/>
                  </a:lnTo>
                  <a:lnTo>
                    <a:pt x="1285" y="1872"/>
                  </a:lnTo>
                  <a:lnTo>
                    <a:pt x="1277" y="1873"/>
                  </a:lnTo>
                  <a:lnTo>
                    <a:pt x="1269" y="1873"/>
                  </a:lnTo>
                  <a:lnTo>
                    <a:pt x="1259" y="1874"/>
                  </a:lnTo>
                  <a:lnTo>
                    <a:pt x="1247" y="1874"/>
                  </a:lnTo>
                  <a:lnTo>
                    <a:pt x="1233" y="1873"/>
                  </a:lnTo>
                  <a:lnTo>
                    <a:pt x="1219" y="1871"/>
                  </a:lnTo>
                  <a:lnTo>
                    <a:pt x="1213" y="1870"/>
                  </a:lnTo>
                  <a:lnTo>
                    <a:pt x="1208" y="1867"/>
                  </a:lnTo>
                  <a:lnTo>
                    <a:pt x="1202" y="1865"/>
                  </a:lnTo>
                  <a:lnTo>
                    <a:pt x="1198" y="1862"/>
                  </a:lnTo>
                  <a:lnTo>
                    <a:pt x="1193" y="1858"/>
                  </a:lnTo>
                  <a:lnTo>
                    <a:pt x="1190" y="1854"/>
                  </a:lnTo>
                  <a:lnTo>
                    <a:pt x="1186" y="1848"/>
                  </a:lnTo>
                  <a:lnTo>
                    <a:pt x="1183" y="1842"/>
                  </a:lnTo>
                  <a:lnTo>
                    <a:pt x="1180" y="1836"/>
                  </a:lnTo>
                  <a:lnTo>
                    <a:pt x="1179" y="1828"/>
                  </a:lnTo>
                  <a:lnTo>
                    <a:pt x="1178" y="1819"/>
                  </a:lnTo>
                  <a:lnTo>
                    <a:pt x="1177" y="1810"/>
                  </a:lnTo>
                  <a:lnTo>
                    <a:pt x="1177" y="1699"/>
                  </a:lnTo>
                  <a:lnTo>
                    <a:pt x="1178" y="1689"/>
                  </a:lnTo>
                  <a:lnTo>
                    <a:pt x="1179" y="1680"/>
                  </a:lnTo>
                  <a:lnTo>
                    <a:pt x="1180" y="1673"/>
                  </a:lnTo>
                  <a:lnTo>
                    <a:pt x="1183" y="1666"/>
                  </a:lnTo>
                  <a:lnTo>
                    <a:pt x="1186" y="1660"/>
                  </a:lnTo>
                  <a:lnTo>
                    <a:pt x="1190" y="1655"/>
                  </a:lnTo>
                  <a:lnTo>
                    <a:pt x="1193" y="1650"/>
                  </a:lnTo>
                  <a:lnTo>
                    <a:pt x="1198" y="1646"/>
                  </a:lnTo>
                  <a:lnTo>
                    <a:pt x="1202" y="1642"/>
                  </a:lnTo>
                  <a:lnTo>
                    <a:pt x="1208" y="1640"/>
                  </a:lnTo>
                  <a:lnTo>
                    <a:pt x="1213" y="1638"/>
                  </a:lnTo>
                  <a:lnTo>
                    <a:pt x="1219" y="1637"/>
                  </a:lnTo>
                  <a:lnTo>
                    <a:pt x="1233" y="1635"/>
                  </a:lnTo>
                  <a:lnTo>
                    <a:pt x="1247" y="1633"/>
                  </a:lnTo>
                  <a:lnTo>
                    <a:pt x="1259" y="1635"/>
                  </a:lnTo>
                  <a:lnTo>
                    <a:pt x="1269" y="1635"/>
                  </a:lnTo>
                  <a:lnTo>
                    <a:pt x="1277" y="1635"/>
                  </a:lnTo>
                  <a:lnTo>
                    <a:pt x="1285" y="1636"/>
                  </a:lnTo>
                  <a:lnTo>
                    <a:pt x="1291" y="1636"/>
                  </a:lnTo>
                  <a:lnTo>
                    <a:pt x="1296" y="1637"/>
                  </a:lnTo>
                  <a:lnTo>
                    <a:pt x="1300" y="1638"/>
                  </a:lnTo>
                  <a:lnTo>
                    <a:pt x="1304" y="1638"/>
                  </a:lnTo>
                  <a:lnTo>
                    <a:pt x="1306" y="1639"/>
                  </a:lnTo>
                  <a:lnTo>
                    <a:pt x="1308" y="1640"/>
                  </a:lnTo>
                  <a:lnTo>
                    <a:pt x="1309" y="1642"/>
                  </a:lnTo>
                  <a:lnTo>
                    <a:pt x="1309" y="1645"/>
                  </a:lnTo>
                  <a:lnTo>
                    <a:pt x="1309" y="1665"/>
                  </a:lnTo>
                  <a:lnTo>
                    <a:pt x="1309" y="1667"/>
                  </a:lnTo>
                  <a:lnTo>
                    <a:pt x="1308" y="1670"/>
                  </a:lnTo>
                  <a:lnTo>
                    <a:pt x="1306" y="1671"/>
                  </a:lnTo>
                  <a:lnTo>
                    <a:pt x="1304" y="1672"/>
                  </a:lnTo>
                  <a:lnTo>
                    <a:pt x="1243" y="1672"/>
                  </a:lnTo>
                  <a:lnTo>
                    <a:pt x="1236" y="1672"/>
                  </a:lnTo>
                  <a:lnTo>
                    <a:pt x="1232" y="1673"/>
                  </a:lnTo>
                  <a:lnTo>
                    <a:pt x="1227" y="1674"/>
                  </a:lnTo>
                  <a:lnTo>
                    <a:pt x="1224" y="1678"/>
                  </a:lnTo>
                  <a:lnTo>
                    <a:pt x="1221" y="1681"/>
                  </a:lnTo>
                  <a:lnTo>
                    <a:pt x="1220" y="1686"/>
                  </a:lnTo>
                  <a:lnTo>
                    <a:pt x="1219" y="1691"/>
                  </a:lnTo>
                  <a:lnTo>
                    <a:pt x="1219" y="1699"/>
                  </a:lnTo>
                  <a:lnTo>
                    <a:pt x="1219" y="1733"/>
                  </a:lnTo>
                  <a:lnTo>
                    <a:pt x="1300" y="1733"/>
                  </a:lnTo>
                  <a:lnTo>
                    <a:pt x="1302" y="1733"/>
                  </a:lnTo>
                  <a:lnTo>
                    <a:pt x="1304" y="1735"/>
                  </a:lnTo>
                  <a:lnTo>
                    <a:pt x="1306" y="1737"/>
                  </a:lnTo>
                  <a:lnTo>
                    <a:pt x="1306" y="1739"/>
                  </a:lnTo>
                  <a:lnTo>
                    <a:pt x="1306" y="1762"/>
                  </a:lnTo>
                  <a:lnTo>
                    <a:pt x="1306" y="1764"/>
                  </a:lnTo>
                  <a:lnTo>
                    <a:pt x="1304" y="1766"/>
                  </a:lnTo>
                  <a:lnTo>
                    <a:pt x="1302" y="1767"/>
                  </a:lnTo>
                  <a:lnTo>
                    <a:pt x="1300" y="1769"/>
                  </a:lnTo>
                  <a:lnTo>
                    <a:pt x="1219" y="1769"/>
                  </a:lnTo>
                  <a:lnTo>
                    <a:pt x="1219" y="1810"/>
                  </a:lnTo>
                  <a:lnTo>
                    <a:pt x="1219" y="1816"/>
                  </a:lnTo>
                  <a:lnTo>
                    <a:pt x="1220" y="1822"/>
                  </a:lnTo>
                  <a:lnTo>
                    <a:pt x="1221" y="1828"/>
                  </a:lnTo>
                  <a:lnTo>
                    <a:pt x="1224" y="1831"/>
                  </a:lnTo>
                  <a:lnTo>
                    <a:pt x="1227" y="1833"/>
                  </a:lnTo>
                  <a:lnTo>
                    <a:pt x="1232" y="1834"/>
                  </a:lnTo>
                  <a:lnTo>
                    <a:pt x="1236" y="1836"/>
                  </a:lnTo>
                  <a:lnTo>
                    <a:pt x="1243" y="1837"/>
                  </a:lnTo>
                  <a:lnTo>
                    <a:pt x="1304" y="1837"/>
                  </a:lnTo>
                  <a:lnTo>
                    <a:pt x="1306" y="1837"/>
                  </a:lnTo>
                  <a:lnTo>
                    <a:pt x="1308" y="1838"/>
                  </a:lnTo>
                  <a:lnTo>
                    <a:pt x="1309" y="1840"/>
                  </a:lnTo>
                  <a:lnTo>
                    <a:pt x="1309" y="1842"/>
                  </a:lnTo>
                  <a:lnTo>
                    <a:pt x="1309" y="1863"/>
                  </a:lnTo>
                  <a:lnTo>
                    <a:pt x="1309" y="1866"/>
                  </a:lnTo>
                  <a:lnTo>
                    <a:pt x="1308" y="1867"/>
                  </a:lnTo>
                  <a:close/>
                  <a:moveTo>
                    <a:pt x="972" y="1639"/>
                  </a:moveTo>
                  <a:lnTo>
                    <a:pt x="974" y="1637"/>
                  </a:lnTo>
                  <a:lnTo>
                    <a:pt x="976" y="1637"/>
                  </a:lnTo>
                  <a:lnTo>
                    <a:pt x="1005" y="1637"/>
                  </a:lnTo>
                  <a:lnTo>
                    <a:pt x="1007" y="1637"/>
                  </a:lnTo>
                  <a:lnTo>
                    <a:pt x="1009" y="1639"/>
                  </a:lnTo>
                  <a:lnTo>
                    <a:pt x="1011" y="1640"/>
                  </a:lnTo>
                  <a:lnTo>
                    <a:pt x="1012" y="1644"/>
                  </a:lnTo>
                  <a:lnTo>
                    <a:pt x="1012" y="1715"/>
                  </a:lnTo>
                  <a:lnTo>
                    <a:pt x="1012" y="1725"/>
                  </a:lnTo>
                  <a:lnTo>
                    <a:pt x="1014" y="1732"/>
                  </a:lnTo>
                  <a:lnTo>
                    <a:pt x="1016" y="1738"/>
                  </a:lnTo>
                  <a:lnTo>
                    <a:pt x="1021" y="1742"/>
                  </a:lnTo>
                  <a:lnTo>
                    <a:pt x="1027" y="1746"/>
                  </a:lnTo>
                  <a:lnTo>
                    <a:pt x="1032" y="1748"/>
                  </a:lnTo>
                  <a:lnTo>
                    <a:pt x="1040" y="1749"/>
                  </a:lnTo>
                  <a:lnTo>
                    <a:pt x="1049" y="1749"/>
                  </a:lnTo>
                  <a:lnTo>
                    <a:pt x="1062" y="1748"/>
                  </a:lnTo>
                  <a:lnTo>
                    <a:pt x="1074" y="1746"/>
                  </a:lnTo>
                  <a:lnTo>
                    <a:pt x="1086" y="1742"/>
                  </a:lnTo>
                  <a:lnTo>
                    <a:pt x="1096" y="1739"/>
                  </a:lnTo>
                  <a:lnTo>
                    <a:pt x="1096" y="1644"/>
                  </a:lnTo>
                  <a:lnTo>
                    <a:pt x="1097" y="1640"/>
                  </a:lnTo>
                  <a:lnTo>
                    <a:pt x="1098" y="1639"/>
                  </a:lnTo>
                  <a:lnTo>
                    <a:pt x="1099" y="1637"/>
                  </a:lnTo>
                  <a:lnTo>
                    <a:pt x="1102" y="1637"/>
                  </a:lnTo>
                  <a:lnTo>
                    <a:pt x="1131" y="1637"/>
                  </a:lnTo>
                  <a:lnTo>
                    <a:pt x="1134" y="1637"/>
                  </a:lnTo>
                  <a:lnTo>
                    <a:pt x="1136" y="1639"/>
                  </a:lnTo>
                  <a:lnTo>
                    <a:pt x="1137" y="1640"/>
                  </a:lnTo>
                  <a:lnTo>
                    <a:pt x="1138" y="1644"/>
                  </a:lnTo>
                  <a:lnTo>
                    <a:pt x="1138" y="1865"/>
                  </a:lnTo>
                  <a:lnTo>
                    <a:pt x="1137" y="1867"/>
                  </a:lnTo>
                  <a:lnTo>
                    <a:pt x="1136" y="1870"/>
                  </a:lnTo>
                  <a:lnTo>
                    <a:pt x="1134" y="1871"/>
                  </a:lnTo>
                  <a:lnTo>
                    <a:pt x="1131" y="1871"/>
                  </a:lnTo>
                  <a:lnTo>
                    <a:pt x="1102" y="1871"/>
                  </a:lnTo>
                  <a:lnTo>
                    <a:pt x="1099" y="1871"/>
                  </a:lnTo>
                  <a:lnTo>
                    <a:pt x="1098" y="1870"/>
                  </a:lnTo>
                  <a:lnTo>
                    <a:pt x="1097" y="1867"/>
                  </a:lnTo>
                  <a:lnTo>
                    <a:pt x="1096" y="1865"/>
                  </a:lnTo>
                  <a:lnTo>
                    <a:pt x="1096" y="1774"/>
                  </a:lnTo>
                  <a:lnTo>
                    <a:pt x="1086" y="1778"/>
                  </a:lnTo>
                  <a:lnTo>
                    <a:pt x="1072" y="1782"/>
                  </a:lnTo>
                  <a:lnTo>
                    <a:pt x="1056" y="1785"/>
                  </a:lnTo>
                  <a:lnTo>
                    <a:pt x="1038" y="1786"/>
                  </a:lnTo>
                  <a:lnTo>
                    <a:pt x="1029" y="1786"/>
                  </a:lnTo>
                  <a:lnTo>
                    <a:pt x="1021" y="1785"/>
                  </a:lnTo>
                  <a:lnTo>
                    <a:pt x="1014" y="1782"/>
                  </a:lnTo>
                  <a:lnTo>
                    <a:pt x="1007" y="1780"/>
                  </a:lnTo>
                  <a:lnTo>
                    <a:pt x="1000" y="1778"/>
                  </a:lnTo>
                  <a:lnTo>
                    <a:pt x="995" y="1774"/>
                  </a:lnTo>
                  <a:lnTo>
                    <a:pt x="990" y="1770"/>
                  </a:lnTo>
                  <a:lnTo>
                    <a:pt x="985" y="1765"/>
                  </a:lnTo>
                  <a:lnTo>
                    <a:pt x="982" y="1761"/>
                  </a:lnTo>
                  <a:lnTo>
                    <a:pt x="979" y="1755"/>
                  </a:lnTo>
                  <a:lnTo>
                    <a:pt x="976" y="1749"/>
                  </a:lnTo>
                  <a:lnTo>
                    <a:pt x="974" y="1744"/>
                  </a:lnTo>
                  <a:lnTo>
                    <a:pt x="971" y="1730"/>
                  </a:lnTo>
                  <a:lnTo>
                    <a:pt x="970" y="1716"/>
                  </a:lnTo>
                  <a:lnTo>
                    <a:pt x="970" y="1644"/>
                  </a:lnTo>
                  <a:lnTo>
                    <a:pt x="971" y="1640"/>
                  </a:lnTo>
                  <a:lnTo>
                    <a:pt x="972" y="1639"/>
                  </a:lnTo>
                  <a:close/>
                  <a:moveTo>
                    <a:pt x="737" y="1672"/>
                  </a:moveTo>
                  <a:lnTo>
                    <a:pt x="735" y="1673"/>
                  </a:lnTo>
                  <a:lnTo>
                    <a:pt x="732" y="1673"/>
                  </a:lnTo>
                  <a:lnTo>
                    <a:pt x="680" y="1673"/>
                  </a:lnTo>
                  <a:lnTo>
                    <a:pt x="680" y="1865"/>
                  </a:lnTo>
                  <a:lnTo>
                    <a:pt x="680" y="1867"/>
                  </a:lnTo>
                  <a:lnTo>
                    <a:pt x="679" y="1870"/>
                  </a:lnTo>
                  <a:lnTo>
                    <a:pt x="676" y="1871"/>
                  </a:lnTo>
                  <a:lnTo>
                    <a:pt x="674" y="1871"/>
                  </a:lnTo>
                  <a:lnTo>
                    <a:pt x="645" y="1871"/>
                  </a:lnTo>
                  <a:lnTo>
                    <a:pt x="642" y="1871"/>
                  </a:lnTo>
                  <a:lnTo>
                    <a:pt x="641" y="1870"/>
                  </a:lnTo>
                  <a:lnTo>
                    <a:pt x="639" y="1867"/>
                  </a:lnTo>
                  <a:lnTo>
                    <a:pt x="639" y="1865"/>
                  </a:lnTo>
                  <a:lnTo>
                    <a:pt x="639" y="1673"/>
                  </a:lnTo>
                  <a:lnTo>
                    <a:pt x="586" y="1673"/>
                  </a:lnTo>
                  <a:lnTo>
                    <a:pt x="584" y="1673"/>
                  </a:lnTo>
                  <a:lnTo>
                    <a:pt x="582" y="1672"/>
                  </a:lnTo>
                  <a:lnTo>
                    <a:pt x="581" y="1670"/>
                  </a:lnTo>
                  <a:lnTo>
                    <a:pt x="581" y="1667"/>
                  </a:lnTo>
                  <a:lnTo>
                    <a:pt x="581" y="1642"/>
                  </a:lnTo>
                  <a:lnTo>
                    <a:pt x="581" y="1640"/>
                  </a:lnTo>
                  <a:lnTo>
                    <a:pt x="582" y="1638"/>
                  </a:lnTo>
                  <a:lnTo>
                    <a:pt x="584" y="1637"/>
                  </a:lnTo>
                  <a:lnTo>
                    <a:pt x="586" y="1637"/>
                  </a:lnTo>
                  <a:lnTo>
                    <a:pt x="732" y="1637"/>
                  </a:lnTo>
                  <a:lnTo>
                    <a:pt x="735" y="1637"/>
                  </a:lnTo>
                  <a:lnTo>
                    <a:pt x="737" y="1638"/>
                  </a:lnTo>
                  <a:lnTo>
                    <a:pt x="738" y="1640"/>
                  </a:lnTo>
                  <a:lnTo>
                    <a:pt x="738" y="1642"/>
                  </a:lnTo>
                  <a:lnTo>
                    <a:pt x="738" y="1667"/>
                  </a:lnTo>
                  <a:lnTo>
                    <a:pt x="738" y="1670"/>
                  </a:lnTo>
                  <a:lnTo>
                    <a:pt x="737" y="1672"/>
                  </a:lnTo>
                  <a:close/>
                  <a:moveTo>
                    <a:pt x="559" y="1869"/>
                  </a:moveTo>
                  <a:lnTo>
                    <a:pt x="559" y="1870"/>
                  </a:lnTo>
                  <a:lnTo>
                    <a:pt x="558" y="1871"/>
                  </a:lnTo>
                  <a:lnTo>
                    <a:pt x="557" y="1871"/>
                  </a:lnTo>
                  <a:lnTo>
                    <a:pt x="554" y="1871"/>
                  </a:lnTo>
                  <a:lnTo>
                    <a:pt x="515" y="1871"/>
                  </a:lnTo>
                  <a:lnTo>
                    <a:pt x="510" y="1871"/>
                  </a:lnTo>
                  <a:lnTo>
                    <a:pt x="508" y="1867"/>
                  </a:lnTo>
                  <a:lnTo>
                    <a:pt x="439" y="1760"/>
                  </a:lnTo>
                  <a:lnTo>
                    <a:pt x="439" y="1865"/>
                  </a:lnTo>
                  <a:lnTo>
                    <a:pt x="439" y="1867"/>
                  </a:lnTo>
                  <a:lnTo>
                    <a:pt x="437" y="1870"/>
                  </a:lnTo>
                  <a:lnTo>
                    <a:pt x="436" y="1871"/>
                  </a:lnTo>
                  <a:lnTo>
                    <a:pt x="434" y="1871"/>
                  </a:lnTo>
                  <a:lnTo>
                    <a:pt x="404" y="1871"/>
                  </a:lnTo>
                  <a:lnTo>
                    <a:pt x="402" y="1871"/>
                  </a:lnTo>
                  <a:lnTo>
                    <a:pt x="399" y="1870"/>
                  </a:lnTo>
                  <a:lnTo>
                    <a:pt x="398" y="1867"/>
                  </a:lnTo>
                  <a:lnTo>
                    <a:pt x="397" y="1865"/>
                  </a:lnTo>
                  <a:lnTo>
                    <a:pt x="397" y="1642"/>
                  </a:lnTo>
                  <a:lnTo>
                    <a:pt x="398" y="1640"/>
                  </a:lnTo>
                  <a:lnTo>
                    <a:pt x="399" y="1639"/>
                  </a:lnTo>
                  <a:lnTo>
                    <a:pt x="402" y="1637"/>
                  </a:lnTo>
                  <a:lnTo>
                    <a:pt x="404" y="1637"/>
                  </a:lnTo>
                  <a:lnTo>
                    <a:pt x="434" y="1637"/>
                  </a:lnTo>
                  <a:lnTo>
                    <a:pt x="436" y="1637"/>
                  </a:lnTo>
                  <a:lnTo>
                    <a:pt x="437" y="1639"/>
                  </a:lnTo>
                  <a:lnTo>
                    <a:pt x="439" y="1640"/>
                  </a:lnTo>
                  <a:lnTo>
                    <a:pt x="439" y="1642"/>
                  </a:lnTo>
                  <a:lnTo>
                    <a:pt x="439" y="1744"/>
                  </a:lnTo>
                  <a:lnTo>
                    <a:pt x="512" y="1639"/>
                  </a:lnTo>
                  <a:lnTo>
                    <a:pt x="513" y="1638"/>
                  </a:lnTo>
                  <a:lnTo>
                    <a:pt x="516" y="1637"/>
                  </a:lnTo>
                  <a:lnTo>
                    <a:pt x="517" y="1637"/>
                  </a:lnTo>
                  <a:lnTo>
                    <a:pt x="519" y="1637"/>
                  </a:lnTo>
                  <a:lnTo>
                    <a:pt x="553" y="1637"/>
                  </a:lnTo>
                  <a:lnTo>
                    <a:pt x="556" y="1637"/>
                  </a:lnTo>
                  <a:lnTo>
                    <a:pt x="558" y="1638"/>
                  </a:lnTo>
                  <a:lnTo>
                    <a:pt x="559" y="1639"/>
                  </a:lnTo>
                  <a:lnTo>
                    <a:pt x="559" y="1640"/>
                  </a:lnTo>
                  <a:lnTo>
                    <a:pt x="559" y="1642"/>
                  </a:lnTo>
                  <a:lnTo>
                    <a:pt x="557" y="1646"/>
                  </a:lnTo>
                  <a:lnTo>
                    <a:pt x="480" y="1750"/>
                  </a:lnTo>
                  <a:lnTo>
                    <a:pt x="558" y="1865"/>
                  </a:lnTo>
                  <a:lnTo>
                    <a:pt x="559" y="1867"/>
                  </a:lnTo>
                  <a:lnTo>
                    <a:pt x="559" y="1869"/>
                  </a:lnTo>
                  <a:close/>
                  <a:moveTo>
                    <a:pt x="368" y="1710"/>
                  </a:moveTo>
                  <a:lnTo>
                    <a:pt x="368" y="1720"/>
                  </a:lnTo>
                  <a:lnTo>
                    <a:pt x="366" y="1729"/>
                  </a:lnTo>
                  <a:lnTo>
                    <a:pt x="364" y="1738"/>
                  </a:lnTo>
                  <a:lnTo>
                    <a:pt x="361" y="1745"/>
                  </a:lnTo>
                  <a:lnTo>
                    <a:pt x="357" y="1752"/>
                  </a:lnTo>
                  <a:lnTo>
                    <a:pt x="353" y="1757"/>
                  </a:lnTo>
                  <a:lnTo>
                    <a:pt x="347" y="1763"/>
                  </a:lnTo>
                  <a:lnTo>
                    <a:pt x="341" y="1767"/>
                  </a:lnTo>
                  <a:lnTo>
                    <a:pt x="336" y="1772"/>
                  </a:lnTo>
                  <a:lnTo>
                    <a:pt x="329" y="1775"/>
                  </a:lnTo>
                  <a:lnTo>
                    <a:pt x="322" y="1778"/>
                  </a:lnTo>
                  <a:lnTo>
                    <a:pt x="314" y="1780"/>
                  </a:lnTo>
                  <a:lnTo>
                    <a:pt x="298" y="1783"/>
                  </a:lnTo>
                  <a:lnTo>
                    <a:pt x="282" y="1783"/>
                  </a:lnTo>
                  <a:lnTo>
                    <a:pt x="275" y="1783"/>
                  </a:lnTo>
                  <a:lnTo>
                    <a:pt x="267" y="1783"/>
                  </a:lnTo>
                  <a:lnTo>
                    <a:pt x="260" y="1783"/>
                  </a:lnTo>
                  <a:lnTo>
                    <a:pt x="255" y="1782"/>
                  </a:lnTo>
                  <a:lnTo>
                    <a:pt x="255" y="1865"/>
                  </a:lnTo>
                  <a:lnTo>
                    <a:pt x="255" y="1867"/>
                  </a:lnTo>
                  <a:lnTo>
                    <a:pt x="254" y="1870"/>
                  </a:lnTo>
                  <a:lnTo>
                    <a:pt x="251" y="1871"/>
                  </a:lnTo>
                  <a:lnTo>
                    <a:pt x="249" y="1871"/>
                  </a:lnTo>
                  <a:lnTo>
                    <a:pt x="219" y="1871"/>
                  </a:lnTo>
                  <a:lnTo>
                    <a:pt x="217" y="1871"/>
                  </a:lnTo>
                  <a:lnTo>
                    <a:pt x="215" y="1870"/>
                  </a:lnTo>
                  <a:lnTo>
                    <a:pt x="214" y="1867"/>
                  </a:lnTo>
                  <a:lnTo>
                    <a:pt x="214" y="1865"/>
                  </a:lnTo>
                  <a:lnTo>
                    <a:pt x="214" y="1648"/>
                  </a:lnTo>
                  <a:lnTo>
                    <a:pt x="214" y="1644"/>
                  </a:lnTo>
                  <a:lnTo>
                    <a:pt x="216" y="1640"/>
                  </a:lnTo>
                  <a:lnTo>
                    <a:pt x="219" y="1639"/>
                  </a:lnTo>
                  <a:lnTo>
                    <a:pt x="223" y="1638"/>
                  </a:lnTo>
                  <a:lnTo>
                    <a:pt x="235" y="1637"/>
                  </a:lnTo>
                  <a:lnTo>
                    <a:pt x="250" y="1635"/>
                  </a:lnTo>
                  <a:lnTo>
                    <a:pt x="265" y="1635"/>
                  </a:lnTo>
                  <a:lnTo>
                    <a:pt x="282" y="1633"/>
                  </a:lnTo>
                  <a:lnTo>
                    <a:pt x="298" y="1635"/>
                  </a:lnTo>
                  <a:lnTo>
                    <a:pt x="314" y="1638"/>
                  </a:lnTo>
                  <a:lnTo>
                    <a:pt x="322" y="1639"/>
                  </a:lnTo>
                  <a:lnTo>
                    <a:pt x="329" y="1642"/>
                  </a:lnTo>
                  <a:lnTo>
                    <a:pt x="336" y="1646"/>
                  </a:lnTo>
                  <a:lnTo>
                    <a:pt x="341" y="1649"/>
                  </a:lnTo>
                  <a:lnTo>
                    <a:pt x="347" y="1654"/>
                  </a:lnTo>
                  <a:lnTo>
                    <a:pt x="353" y="1660"/>
                  </a:lnTo>
                  <a:lnTo>
                    <a:pt x="357" y="1665"/>
                  </a:lnTo>
                  <a:lnTo>
                    <a:pt x="361" y="1672"/>
                  </a:lnTo>
                  <a:lnTo>
                    <a:pt x="364" y="1680"/>
                  </a:lnTo>
                  <a:lnTo>
                    <a:pt x="366" y="1688"/>
                  </a:lnTo>
                  <a:lnTo>
                    <a:pt x="368" y="1697"/>
                  </a:lnTo>
                  <a:lnTo>
                    <a:pt x="368" y="1707"/>
                  </a:lnTo>
                  <a:lnTo>
                    <a:pt x="368" y="1710"/>
                  </a:lnTo>
                  <a:close/>
                  <a:moveTo>
                    <a:pt x="326" y="1707"/>
                  </a:moveTo>
                  <a:lnTo>
                    <a:pt x="326" y="1707"/>
                  </a:lnTo>
                  <a:lnTo>
                    <a:pt x="325" y="1698"/>
                  </a:lnTo>
                  <a:lnTo>
                    <a:pt x="323" y="1690"/>
                  </a:lnTo>
                  <a:lnTo>
                    <a:pt x="320" y="1683"/>
                  </a:lnTo>
                  <a:lnTo>
                    <a:pt x="315" y="1679"/>
                  </a:lnTo>
                  <a:lnTo>
                    <a:pt x="308" y="1675"/>
                  </a:lnTo>
                  <a:lnTo>
                    <a:pt x="301" y="1672"/>
                  </a:lnTo>
                  <a:lnTo>
                    <a:pt x="292" y="1671"/>
                  </a:lnTo>
                  <a:lnTo>
                    <a:pt x="281" y="1670"/>
                  </a:lnTo>
                  <a:lnTo>
                    <a:pt x="279" y="1671"/>
                  </a:lnTo>
                  <a:lnTo>
                    <a:pt x="275" y="1671"/>
                  </a:lnTo>
                  <a:lnTo>
                    <a:pt x="272" y="1671"/>
                  </a:lnTo>
                  <a:lnTo>
                    <a:pt x="267" y="1671"/>
                  </a:lnTo>
                  <a:lnTo>
                    <a:pt x="264" y="1671"/>
                  </a:lnTo>
                  <a:lnTo>
                    <a:pt x="260" y="1671"/>
                  </a:lnTo>
                  <a:lnTo>
                    <a:pt x="257" y="1671"/>
                  </a:lnTo>
                  <a:lnTo>
                    <a:pt x="255" y="1672"/>
                  </a:lnTo>
                  <a:lnTo>
                    <a:pt x="255" y="1747"/>
                  </a:lnTo>
                  <a:lnTo>
                    <a:pt x="257" y="1747"/>
                  </a:lnTo>
                  <a:lnTo>
                    <a:pt x="260" y="1747"/>
                  </a:lnTo>
                  <a:lnTo>
                    <a:pt x="264" y="1747"/>
                  </a:lnTo>
                  <a:lnTo>
                    <a:pt x="268" y="1747"/>
                  </a:lnTo>
                  <a:lnTo>
                    <a:pt x="272" y="1747"/>
                  </a:lnTo>
                  <a:lnTo>
                    <a:pt x="276" y="1748"/>
                  </a:lnTo>
                  <a:lnTo>
                    <a:pt x="279" y="1748"/>
                  </a:lnTo>
                  <a:lnTo>
                    <a:pt x="281" y="1748"/>
                  </a:lnTo>
                  <a:lnTo>
                    <a:pt x="292" y="1747"/>
                  </a:lnTo>
                  <a:lnTo>
                    <a:pt x="303" y="1746"/>
                  </a:lnTo>
                  <a:lnTo>
                    <a:pt x="309" y="1742"/>
                  </a:lnTo>
                  <a:lnTo>
                    <a:pt x="316" y="1738"/>
                  </a:lnTo>
                  <a:lnTo>
                    <a:pt x="321" y="1733"/>
                  </a:lnTo>
                  <a:lnTo>
                    <a:pt x="323" y="1727"/>
                  </a:lnTo>
                  <a:lnTo>
                    <a:pt x="325" y="1719"/>
                  </a:lnTo>
                  <a:lnTo>
                    <a:pt x="326" y="1710"/>
                  </a:lnTo>
                  <a:lnTo>
                    <a:pt x="326" y="1707"/>
                  </a:lnTo>
                  <a:close/>
                  <a:moveTo>
                    <a:pt x="185" y="1866"/>
                  </a:moveTo>
                  <a:lnTo>
                    <a:pt x="185" y="1869"/>
                  </a:lnTo>
                  <a:lnTo>
                    <a:pt x="184" y="1870"/>
                  </a:lnTo>
                  <a:lnTo>
                    <a:pt x="182" y="1871"/>
                  </a:lnTo>
                  <a:lnTo>
                    <a:pt x="179" y="1871"/>
                  </a:lnTo>
                  <a:lnTo>
                    <a:pt x="149" y="1871"/>
                  </a:lnTo>
                  <a:lnTo>
                    <a:pt x="146" y="1871"/>
                  </a:lnTo>
                  <a:lnTo>
                    <a:pt x="145" y="1870"/>
                  </a:lnTo>
                  <a:lnTo>
                    <a:pt x="143" y="1869"/>
                  </a:lnTo>
                  <a:lnTo>
                    <a:pt x="143" y="1866"/>
                  </a:lnTo>
                  <a:lnTo>
                    <a:pt x="129" y="1806"/>
                  </a:lnTo>
                  <a:lnTo>
                    <a:pt x="60" y="1806"/>
                  </a:lnTo>
                  <a:lnTo>
                    <a:pt x="46" y="1866"/>
                  </a:lnTo>
                  <a:lnTo>
                    <a:pt x="46" y="1869"/>
                  </a:lnTo>
                  <a:lnTo>
                    <a:pt x="45" y="1870"/>
                  </a:lnTo>
                  <a:lnTo>
                    <a:pt x="43" y="1871"/>
                  </a:lnTo>
                  <a:lnTo>
                    <a:pt x="40" y="1871"/>
                  </a:lnTo>
                  <a:lnTo>
                    <a:pt x="10" y="1871"/>
                  </a:lnTo>
                  <a:lnTo>
                    <a:pt x="7" y="1871"/>
                  </a:lnTo>
                  <a:lnTo>
                    <a:pt x="5" y="1870"/>
                  </a:lnTo>
                  <a:lnTo>
                    <a:pt x="4" y="1869"/>
                  </a:lnTo>
                  <a:lnTo>
                    <a:pt x="4" y="1866"/>
                  </a:lnTo>
                  <a:lnTo>
                    <a:pt x="4" y="1865"/>
                  </a:lnTo>
                  <a:lnTo>
                    <a:pt x="4" y="1865"/>
                  </a:lnTo>
                  <a:lnTo>
                    <a:pt x="4" y="1865"/>
                  </a:lnTo>
                  <a:lnTo>
                    <a:pt x="4" y="1864"/>
                  </a:lnTo>
                  <a:lnTo>
                    <a:pt x="53" y="1666"/>
                  </a:lnTo>
                  <a:lnTo>
                    <a:pt x="56" y="1656"/>
                  </a:lnTo>
                  <a:lnTo>
                    <a:pt x="61" y="1649"/>
                  </a:lnTo>
                  <a:lnTo>
                    <a:pt x="67" y="1644"/>
                  </a:lnTo>
                  <a:lnTo>
                    <a:pt x="72" y="1639"/>
                  </a:lnTo>
                  <a:lnTo>
                    <a:pt x="78" y="1637"/>
                  </a:lnTo>
                  <a:lnTo>
                    <a:pt x="84" y="1635"/>
                  </a:lnTo>
                  <a:lnTo>
                    <a:pt x="89" y="1635"/>
                  </a:lnTo>
                  <a:lnTo>
                    <a:pt x="95" y="1633"/>
                  </a:lnTo>
                  <a:lnTo>
                    <a:pt x="100" y="1635"/>
                  </a:lnTo>
                  <a:lnTo>
                    <a:pt x="105" y="1635"/>
                  </a:lnTo>
                  <a:lnTo>
                    <a:pt x="111" y="1637"/>
                  </a:lnTo>
                  <a:lnTo>
                    <a:pt x="118" y="1639"/>
                  </a:lnTo>
                  <a:lnTo>
                    <a:pt x="124" y="1644"/>
                  </a:lnTo>
                  <a:lnTo>
                    <a:pt x="128" y="1649"/>
                  </a:lnTo>
                  <a:lnTo>
                    <a:pt x="133" y="1656"/>
                  </a:lnTo>
                  <a:lnTo>
                    <a:pt x="136" y="1666"/>
                  </a:lnTo>
                  <a:lnTo>
                    <a:pt x="185" y="1864"/>
                  </a:lnTo>
                  <a:lnTo>
                    <a:pt x="185" y="1865"/>
                  </a:lnTo>
                  <a:lnTo>
                    <a:pt x="185" y="1865"/>
                  </a:lnTo>
                  <a:lnTo>
                    <a:pt x="185" y="1865"/>
                  </a:lnTo>
                  <a:lnTo>
                    <a:pt x="185" y="1866"/>
                  </a:lnTo>
                  <a:close/>
                  <a:moveTo>
                    <a:pt x="100" y="1677"/>
                  </a:moveTo>
                  <a:lnTo>
                    <a:pt x="100" y="1677"/>
                  </a:lnTo>
                  <a:lnTo>
                    <a:pt x="98" y="1673"/>
                  </a:lnTo>
                  <a:lnTo>
                    <a:pt x="97" y="1672"/>
                  </a:lnTo>
                  <a:lnTo>
                    <a:pt x="96" y="1671"/>
                  </a:lnTo>
                  <a:lnTo>
                    <a:pt x="95" y="1671"/>
                  </a:lnTo>
                  <a:lnTo>
                    <a:pt x="93" y="1671"/>
                  </a:lnTo>
                  <a:lnTo>
                    <a:pt x="92" y="1672"/>
                  </a:lnTo>
                  <a:lnTo>
                    <a:pt x="90" y="1673"/>
                  </a:lnTo>
                  <a:lnTo>
                    <a:pt x="89" y="1677"/>
                  </a:lnTo>
                  <a:lnTo>
                    <a:pt x="69" y="1770"/>
                  </a:lnTo>
                  <a:lnTo>
                    <a:pt x="121" y="1770"/>
                  </a:lnTo>
                  <a:lnTo>
                    <a:pt x="100" y="1677"/>
                  </a:lnTo>
                  <a:close/>
                  <a:moveTo>
                    <a:pt x="1047" y="103"/>
                  </a:moveTo>
                  <a:lnTo>
                    <a:pt x="1041" y="94"/>
                  </a:lnTo>
                  <a:lnTo>
                    <a:pt x="1036" y="85"/>
                  </a:lnTo>
                  <a:lnTo>
                    <a:pt x="1029" y="76"/>
                  </a:lnTo>
                  <a:lnTo>
                    <a:pt x="1022" y="68"/>
                  </a:lnTo>
                  <a:lnTo>
                    <a:pt x="1015" y="61"/>
                  </a:lnTo>
                  <a:lnTo>
                    <a:pt x="1007" y="54"/>
                  </a:lnTo>
                  <a:lnTo>
                    <a:pt x="999" y="47"/>
                  </a:lnTo>
                  <a:lnTo>
                    <a:pt x="991" y="42"/>
                  </a:lnTo>
                  <a:lnTo>
                    <a:pt x="973" y="30"/>
                  </a:lnTo>
                  <a:lnTo>
                    <a:pt x="954" y="21"/>
                  </a:lnTo>
                  <a:lnTo>
                    <a:pt x="932" y="14"/>
                  </a:lnTo>
                  <a:lnTo>
                    <a:pt x="910" y="9"/>
                  </a:lnTo>
                  <a:lnTo>
                    <a:pt x="886" y="4"/>
                  </a:lnTo>
                  <a:lnTo>
                    <a:pt x="863" y="2"/>
                  </a:lnTo>
                  <a:lnTo>
                    <a:pt x="840" y="0"/>
                  </a:lnTo>
                  <a:lnTo>
                    <a:pt x="814" y="0"/>
                  </a:lnTo>
                  <a:lnTo>
                    <a:pt x="789" y="0"/>
                  </a:lnTo>
                  <a:lnTo>
                    <a:pt x="765" y="0"/>
                  </a:lnTo>
                  <a:lnTo>
                    <a:pt x="744" y="1"/>
                  </a:lnTo>
                  <a:lnTo>
                    <a:pt x="723" y="3"/>
                  </a:lnTo>
                  <a:lnTo>
                    <a:pt x="700" y="4"/>
                  </a:lnTo>
                  <a:lnTo>
                    <a:pt x="680" y="6"/>
                  </a:lnTo>
                  <a:lnTo>
                    <a:pt x="663" y="8"/>
                  </a:lnTo>
                  <a:lnTo>
                    <a:pt x="647" y="10"/>
                  </a:lnTo>
                  <a:lnTo>
                    <a:pt x="639" y="11"/>
                  </a:lnTo>
                  <a:lnTo>
                    <a:pt x="633" y="13"/>
                  </a:lnTo>
                  <a:lnTo>
                    <a:pt x="627" y="16"/>
                  </a:lnTo>
                  <a:lnTo>
                    <a:pt x="623" y="19"/>
                  </a:lnTo>
                  <a:lnTo>
                    <a:pt x="618" y="22"/>
                  </a:lnTo>
                  <a:lnTo>
                    <a:pt x="615" y="28"/>
                  </a:lnTo>
                  <a:lnTo>
                    <a:pt x="614" y="35"/>
                  </a:lnTo>
                  <a:lnTo>
                    <a:pt x="613" y="42"/>
                  </a:lnTo>
                  <a:lnTo>
                    <a:pt x="613" y="581"/>
                  </a:lnTo>
                  <a:lnTo>
                    <a:pt x="613" y="586"/>
                  </a:lnTo>
                  <a:lnTo>
                    <a:pt x="615" y="590"/>
                  </a:lnTo>
                  <a:lnTo>
                    <a:pt x="617" y="595"/>
                  </a:lnTo>
                  <a:lnTo>
                    <a:pt x="619" y="598"/>
                  </a:lnTo>
                  <a:lnTo>
                    <a:pt x="624" y="602"/>
                  </a:lnTo>
                  <a:lnTo>
                    <a:pt x="627" y="604"/>
                  </a:lnTo>
                  <a:lnTo>
                    <a:pt x="632" y="605"/>
                  </a:lnTo>
                  <a:lnTo>
                    <a:pt x="637" y="605"/>
                  </a:lnTo>
                  <a:lnTo>
                    <a:pt x="722" y="605"/>
                  </a:lnTo>
                  <a:lnTo>
                    <a:pt x="728" y="605"/>
                  </a:lnTo>
                  <a:lnTo>
                    <a:pt x="731" y="603"/>
                  </a:lnTo>
                  <a:lnTo>
                    <a:pt x="736" y="602"/>
                  </a:lnTo>
                  <a:lnTo>
                    <a:pt x="739" y="598"/>
                  </a:lnTo>
                  <a:lnTo>
                    <a:pt x="743" y="595"/>
                  </a:lnTo>
                  <a:lnTo>
                    <a:pt x="744" y="590"/>
                  </a:lnTo>
                  <a:lnTo>
                    <a:pt x="746" y="586"/>
                  </a:lnTo>
                  <a:lnTo>
                    <a:pt x="746" y="581"/>
                  </a:lnTo>
                  <a:lnTo>
                    <a:pt x="746" y="403"/>
                  </a:lnTo>
                  <a:lnTo>
                    <a:pt x="756" y="403"/>
                  </a:lnTo>
                  <a:lnTo>
                    <a:pt x="778" y="404"/>
                  </a:lnTo>
                  <a:lnTo>
                    <a:pt x="801" y="405"/>
                  </a:lnTo>
                  <a:lnTo>
                    <a:pt x="814" y="405"/>
                  </a:lnTo>
                  <a:lnTo>
                    <a:pt x="838" y="405"/>
                  </a:lnTo>
                  <a:lnTo>
                    <a:pt x="862" y="403"/>
                  </a:lnTo>
                  <a:lnTo>
                    <a:pt x="886" y="401"/>
                  </a:lnTo>
                  <a:lnTo>
                    <a:pt x="910" y="396"/>
                  </a:lnTo>
                  <a:lnTo>
                    <a:pt x="932" y="391"/>
                  </a:lnTo>
                  <a:lnTo>
                    <a:pt x="952" y="383"/>
                  </a:lnTo>
                  <a:lnTo>
                    <a:pt x="973" y="373"/>
                  </a:lnTo>
                  <a:lnTo>
                    <a:pt x="990" y="362"/>
                  </a:lnTo>
                  <a:lnTo>
                    <a:pt x="999" y="356"/>
                  </a:lnTo>
                  <a:lnTo>
                    <a:pt x="1007" y="350"/>
                  </a:lnTo>
                  <a:lnTo>
                    <a:pt x="1015" y="343"/>
                  </a:lnTo>
                  <a:lnTo>
                    <a:pt x="1022" y="336"/>
                  </a:lnTo>
                  <a:lnTo>
                    <a:pt x="1029" y="328"/>
                  </a:lnTo>
                  <a:lnTo>
                    <a:pt x="1036" y="319"/>
                  </a:lnTo>
                  <a:lnTo>
                    <a:pt x="1041" y="310"/>
                  </a:lnTo>
                  <a:lnTo>
                    <a:pt x="1047" y="301"/>
                  </a:lnTo>
                  <a:lnTo>
                    <a:pt x="1053" y="289"/>
                  </a:lnTo>
                  <a:lnTo>
                    <a:pt x="1057" y="277"/>
                  </a:lnTo>
                  <a:lnTo>
                    <a:pt x="1061" y="266"/>
                  </a:lnTo>
                  <a:lnTo>
                    <a:pt x="1064" y="253"/>
                  </a:lnTo>
                  <a:lnTo>
                    <a:pt x="1066" y="241"/>
                  </a:lnTo>
                  <a:lnTo>
                    <a:pt x="1069" y="227"/>
                  </a:lnTo>
                  <a:lnTo>
                    <a:pt x="1070" y="214"/>
                  </a:lnTo>
                  <a:lnTo>
                    <a:pt x="1070" y="201"/>
                  </a:lnTo>
                  <a:lnTo>
                    <a:pt x="1070" y="188"/>
                  </a:lnTo>
                  <a:lnTo>
                    <a:pt x="1069" y="175"/>
                  </a:lnTo>
                  <a:lnTo>
                    <a:pt x="1066" y="162"/>
                  </a:lnTo>
                  <a:lnTo>
                    <a:pt x="1064" y="150"/>
                  </a:lnTo>
                  <a:lnTo>
                    <a:pt x="1061" y="137"/>
                  </a:lnTo>
                  <a:lnTo>
                    <a:pt x="1057" y="126"/>
                  </a:lnTo>
                  <a:lnTo>
                    <a:pt x="1053" y="114"/>
                  </a:lnTo>
                  <a:lnTo>
                    <a:pt x="1047" y="103"/>
                  </a:lnTo>
                  <a:close/>
                  <a:moveTo>
                    <a:pt x="746" y="112"/>
                  </a:moveTo>
                  <a:lnTo>
                    <a:pt x="746" y="112"/>
                  </a:lnTo>
                  <a:lnTo>
                    <a:pt x="756" y="111"/>
                  </a:lnTo>
                  <a:lnTo>
                    <a:pt x="779" y="111"/>
                  </a:lnTo>
                  <a:lnTo>
                    <a:pt x="802" y="110"/>
                  </a:lnTo>
                  <a:lnTo>
                    <a:pt x="814" y="109"/>
                  </a:lnTo>
                  <a:lnTo>
                    <a:pt x="829" y="110"/>
                  </a:lnTo>
                  <a:lnTo>
                    <a:pt x="843" y="110"/>
                  </a:lnTo>
                  <a:lnTo>
                    <a:pt x="857" y="112"/>
                  </a:lnTo>
                  <a:lnTo>
                    <a:pt x="868" y="114"/>
                  </a:lnTo>
                  <a:lnTo>
                    <a:pt x="879" y="117"/>
                  </a:lnTo>
                  <a:lnTo>
                    <a:pt x="889" y="121"/>
                  </a:lnTo>
                  <a:lnTo>
                    <a:pt x="898" y="125"/>
                  </a:lnTo>
                  <a:lnTo>
                    <a:pt x="906" y="130"/>
                  </a:lnTo>
                  <a:lnTo>
                    <a:pt x="914" y="136"/>
                  </a:lnTo>
                  <a:lnTo>
                    <a:pt x="920" y="144"/>
                  </a:lnTo>
                  <a:lnTo>
                    <a:pt x="926" y="152"/>
                  </a:lnTo>
                  <a:lnTo>
                    <a:pt x="931" y="161"/>
                  </a:lnTo>
                  <a:lnTo>
                    <a:pt x="934" y="170"/>
                  </a:lnTo>
                  <a:lnTo>
                    <a:pt x="936" y="180"/>
                  </a:lnTo>
                  <a:lnTo>
                    <a:pt x="938" y="191"/>
                  </a:lnTo>
                  <a:lnTo>
                    <a:pt x="939" y="201"/>
                  </a:lnTo>
                  <a:lnTo>
                    <a:pt x="938" y="212"/>
                  </a:lnTo>
                  <a:lnTo>
                    <a:pt x="936" y="222"/>
                  </a:lnTo>
                  <a:lnTo>
                    <a:pt x="934" y="233"/>
                  </a:lnTo>
                  <a:lnTo>
                    <a:pt x="931" y="242"/>
                  </a:lnTo>
                  <a:lnTo>
                    <a:pt x="926" y="251"/>
                  </a:lnTo>
                  <a:lnTo>
                    <a:pt x="920" y="260"/>
                  </a:lnTo>
                  <a:lnTo>
                    <a:pt x="915" y="268"/>
                  </a:lnTo>
                  <a:lnTo>
                    <a:pt x="908" y="275"/>
                  </a:lnTo>
                  <a:lnTo>
                    <a:pt x="900" y="279"/>
                  </a:lnTo>
                  <a:lnTo>
                    <a:pt x="892" y="284"/>
                  </a:lnTo>
                  <a:lnTo>
                    <a:pt x="882" y="288"/>
                  </a:lnTo>
                  <a:lnTo>
                    <a:pt x="871" y="292"/>
                  </a:lnTo>
                  <a:lnTo>
                    <a:pt x="859" y="294"/>
                  </a:lnTo>
                  <a:lnTo>
                    <a:pt x="845" y="295"/>
                  </a:lnTo>
                  <a:lnTo>
                    <a:pt x="830" y="296"/>
                  </a:lnTo>
                  <a:lnTo>
                    <a:pt x="814" y="297"/>
                  </a:lnTo>
                  <a:lnTo>
                    <a:pt x="802" y="296"/>
                  </a:lnTo>
                  <a:lnTo>
                    <a:pt x="779" y="296"/>
                  </a:lnTo>
                  <a:lnTo>
                    <a:pt x="756" y="295"/>
                  </a:lnTo>
                  <a:lnTo>
                    <a:pt x="746" y="294"/>
                  </a:lnTo>
                  <a:lnTo>
                    <a:pt x="746" y="112"/>
                  </a:lnTo>
                  <a:close/>
                  <a:moveTo>
                    <a:pt x="2795" y="19"/>
                  </a:moveTo>
                  <a:lnTo>
                    <a:pt x="2789" y="16"/>
                  </a:lnTo>
                  <a:lnTo>
                    <a:pt x="2782" y="12"/>
                  </a:lnTo>
                  <a:lnTo>
                    <a:pt x="2777" y="11"/>
                  </a:lnTo>
                  <a:lnTo>
                    <a:pt x="2771" y="10"/>
                  </a:lnTo>
                  <a:lnTo>
                    <a:pt x="2753" y="8"/>
                  </a:lnTo>
                  <a:lnTo>
                    <a:pt x="2733" y="5"/>
                  </a:lnTo>
                  <a:lnTo>
                    <a:pt x="2714" y="4"/>
                  </a:lnTo>
                  <a:lnTo>
                    <a:pt x="2693" y="3"/>
                  </a:lnTo>
                  <a:lnTo>
                    <a:pt x="2669" y="1"/>
                  </a:lnTo>
                  <a:lnTo>
                    <a:pt x="2645" y="0"/>
                  </a:lnTo>
                  <a:lnTo>
                    <a:pt x="2622" y="0"/>
                  </a:lnTo>
                  <a:lnTo>
                    <a:pt x="2598" y="0"/>
                  </a:lnTo>
                  <a:lnTo>
                    <a:pt x="2575" y="1"/>
                  </a:lnTo>
                  <a:lnTo>
                    <a:pt x="2552" y="2"/>
                  </a:lnTo>
                  <a:lnTo>
                    <a:pt x="2529" y="5"/>
                  </a:lnTo>
                  <a:lnTo>
                    <a:pt x="2508" y="9"/>
                  </a:lnTo>
                  <a:lnTo>
                    <a:pt x="2485" y="14"/>
                  </a:lnTo>
                  <a:lnTo>
                    <a:pt x="2464" y="22"/>
                  </a:lnTo>
                  <a:lnTo>
                    <a:pt x="2445" y="30"/>
                  </a:lnTo>
                  <a:lnTo>
                    <a:pt x="2427" y="41"/>
                  </a:lnTo>
                  <a:lnTo>
                    <a:pt x="2419" y="46"/>
                  </a:lnTo>
                  <a:lnTo>
                    <a:pt x="2411" y="53"/>
                  </a:lnTo>
                  <a:lnTo>
                    <a:pt x="2403" y="60"/>
                  </a:lnTo>
                  <a:lnTo>
                    <a:pt x="2396" y="67"/>
                  </a:lnTo>
                  <a:lnTo>
                    <a:pt x="2389" y="75"/>
                  </a:lnTo>
                  <a:lnTo>
                    <a:pt x="2382" y="84"/>
                  </a:lnTo>
                  <a:lnTo>
                    <a:pt x="2376" y="92"/>
                  </a:lnTo>
                  <a:lnTo>
                    <a:pt x="2371" y="101"/>
                  </a:lnTo>
                  <a:lnTo>
                    <a:pt x="2365" y="112"/>
                  </a:lnTo>
                  <a:lnTo>
                    <a:pt x="2360" y="124"/>
                  </a:lnTo>
                  <a:lnTo>
                    <a:pt x="2356" y="136"/>
                  </a:lnTo>
                  <a:lnTo>
                    <a:pt x="2352" y="150"/>
                  </a:lnTo>
                  <a:lnTo>
                    <a:pt x="2350" y="163"/>
                  </a:lnTo>
                  <a:lnTo>
                    <a:pt x="2348" y="177"/>
                  </a:lnTo>
                  <a:lnTo>
                    <a:pt x="2347" y="191"/>
                  </a:lnTo>
                  <a:lnTo>
                    <a:pt x="2347" y="205"/>
                  </a:lnTo>
                  <a:lnTo>
                    <a:pt x="2348" y="219"/>
                  </a:lnTo>
                  <a:lnTo>
                    <a:pt x="2350" y="234"/>
                  </a:lnTo>
                  <a:lnTo>
                    <a:pt x="2352" y="247"/>
                  </a:lnTo>
                  <a:lnTo>
                    <a:pt x="2357" y="261"/>
                  </a:lnTo>
                  <a:lnTo>
                    <a:pt x="2362" y="275"/>
                  </a:lnTo>
                  <a:lnTo>
                    <a:pt x="2367" y="288"/>
                  </a:lnTo>
                  <a:lnTo>
                    <a:pt x="2374" y="301"/>
                  </a:lnTo>
                  <a:lnTo>
                    <a:pt x="2382" y="313"/>
                  </a:lnTo>
                  <a:lnTo>
                    <a:pt x="2390" y="322"/>
                  </a:lnTo>
                  <a:lnTo>
                    <a:pt x="2399" y="331"/>
                  </a:lnTo>
                  <a:lnTo>
                    <a:pt x="2408" y="339"/>
                  </a:lnTo>
                  <a:lnTo>
                    <a:pt x="2417" y="347"/>
                  </a:lnTo>
                  <a:lnTo>
                    <a:pt x="2428" y="355"/>
                  </a:lnTo>
                  <a:lnTo>
                    <a:pt x="2438" y="361"/>
                  </a:lnTo>
                  <a:lnTo>
                    <a:pt x="2449" y="368"/>
                  </a:lnTo>
                  <a:lnTo>
                    <a:pt x="2462" y="372"/>
                  </a:lnTo>
                  <a:lnTo>
                    <a:pt x="2333" y="577"/>
                  </a:lnTo>
                  <a:lnTo>
                    <a:pt x="2331" y="581"/>
                  </a:lnTo>
                  <a:lnTo>
                    <a:pt x="2330" y="588"/>
                  </a:lnTo>
                  <a:lnTo>
                    <a:pt x="2330" y="592"/>
                  </a:lnTo>
                  <a:lnTo>
                    <a:pt x="2331" y="595"/>
                  </a:lnTo>
                  <a:lnTo>
                    <a:pt x="2333" y="598"/>
                  </a:lnTo>
                  <a:lnTo>
                    <a:pt x="2335" y="601"/>
                  </a:lnTo>
                  <a:lnTo>
                    <a:pt x="2338" y="603"/>
                  </a:lnTo>
                  <a:lnTo>
                    <a:pt x="2341" y="604"/>
                  </a:lnTo>
                  <a:lnTo>
                    <a:pt x="2344" y="605"/>
                  </a:lnTo>
                  <a:lnTo>
                    <a:pt x="2348" y="605"/>
                  </a:lnTo>
                  <a:lnTo>
                    <a:pt x="2452" y="605"/>
                  </a:lnTo>
                  <a:lnTo>
                    <a:pt x="2456" y="605"/>
                  </a:lnTo>
                  <a:lnTo>
                    <a:pt x="2461" y="603"/>
                  </a:lnTo>
                  <a:lnTo>
                    <a:pt x="2465" y="601"/>
                  </a:lnTo>
                  <a:lnTo>
                    <a:pt x="2469" y="597"/>
                  </a:lnTo>
                  <a:lnTo>
                    <a:pt x="2471" y="592"/>
                  </a:lnTo>
                  <a:lnTo>
                    <a:pt x="2474" y="587"/>
                  </a:lnTo>
                  <a:lnTo>
                    <a:pt x="2595" y="397"/>
                  </a:lnTo>
                  <a:lnTo>
                    <a:pt x="2598" y="397"/>
                  </a:lnTo>
                  <a:lnTo>
                    <a:pt x="2606" y="398"/>
                  </a:lnTo>
                  <a:lnTo>
                    <a:pt x="2618" y="398"/>
                  </a:lnTo>
                  <a:lnTo>
                    <a:pt x="2632" y="398"/>
                  </a:lnTo>
                  <a:lnTo>
                    <a:pt x="2647" y="397"/>
                  </a:lnTo>
                  <a:lnTo>
                    <a:pt x="2659" y="396"/>
                  </a:lnTo>
                  <a:lnTo>
                    <a:pt x="2667" y="395"/>
                  </a:lnTo>
                  <a:lnTo>
                    <a:pt x="2671" y="395"/>
                  </a:lnTo>
                  <a:lnTo>
                    <a:pt x="2671" y="581"/>
                  </a:lnTo>
                  <a:lnTo>
                    <a:pt x="2672" y="586"/>
                  </a:lnTo>
                  <a:lnTo>
                    <a:pt x="2673" y="590"/>
                  </a:lnTo>
                  <a:lnTo>
                    <a:pt x="2675" y="594"/>
                  </a:lnTo>
                  <a:lnTo>
                    <a:pt x="2677" y="597"/>
                  </a:lnTo>
                  <a:lnTo>
                    <a:pt x="2681" y="601"/>
                  </a:lnTo>
                  <a:lnTo>
                    <a:pt x="2685" y="603"/>
                  </a:lnTo>
                  <a:lnTo>
                    <a:pt x="2690" y="605"/>
                  </a:lnTo>
                  <a:lnTo>
                    <a:pt x="2695" y="605"/>
                  </a:lnTo>
                  <a:lnTo>
                    <a:pt x="2780" y="605"/>
                  </a:lnTo>
                  <a:lnTo>
                    <a:pt x="2785" y="605"/>
                  </a:lnTo>
                  <a:lnTo>
                    <a:pt x="2789" y="603"/>
                  </a:lnTo>
                  <a:lnTo>
                    <a:pt x="2794" y="601"/>
                  </a:lnTo>
                  <a:lnTo>
                    <a:pt x="2797" y="598"/>
                  </a:lnTo>
                  <a:lnTo>
                    <a:pt x="2801" y="594"/>
                  </a:lnTo>
                  <a:lnTo>
                    <a:pt x="2803" y="590"/>
                  </a:lnTo>
                  <a:lnTo>
                    <a:pt x="2804" y="586"/>
                  </a:lnTo>
                  <a:lnTo>
                    <a:pt x="2805" y="581"/>
                  </a:lnTo>
                  <a:lnTo>
                    <a:pt x="2805" y="43"/>
                  </a:lnTo>
                  <a:lnTo>
                    <a:pt x="2804" y="35"/>
                  </a:lnTo>
                  <a:lnTo>
                    <a:pt x="2802" y="28"/>
                  </a:lnTo>
                  <a:lnTo>
                    <a:pt x="2798" y="22"/>
                  </a:lnTo>
                  <a:lnTo>
                    <a:pt x="2795" y="19"/>
                  </a:lnTo>
                  <a:close/>
                  <a:moveTo>
                    <a:pt x="2671" y="114"/>
                  </a:moveTo>
                  <a:lnTo>
                    <a:pt x="2671" y="114"/>
                  </a:lnTo>
                  <a:lnTo>
                    <a:pt x="2671" y="287"/>
                  </a:lnTo>
                  <a:lnTo>
                    <a:pt x="2665" y="288"/>
                  </a:lnTo>
                  <a:lnTo>
                    <a:pt x="2648" y="289"/>
                  </a:lnTo>
                  <a:lnTo>
                    <a:pt x="2624" y="292"/>
                  </a:lnTo>
                  <a:lnTo>
                    <a:pt x="2594" y="291"/>
                  </a:lnTo>
                  <a:lnTo>
                    <a:pt x="2565" y="288"/>
                  </a:lnTo>
                  <a:lnTo>
                    <a:pt x="2543" y="285"/>
                  </a:lnTo>
                  <a:lnTo>
                    <a:pt x="2534" y="281"/>
                  </a:lnTo>
                  <a:lnTo>
                    <a:pt x="2525" y="278"/>
                  </a:lnTo>
                  <a:lnTo>
                    <a:pt x="2518" y="275"/>
                  </a:lnTo>
                  <a:lnTo>
                    <a:pt x="2511" y="270"/>
                  </a:lnTo>
                  <a:lnTo>
                    <a:pt x="2503" y="264"/>
                  </a:lnTo>
                  <a:lnTo>
                    <a:pt x="2497" y="258"/>
                  </a:lnTo>
                  <a:lnTo>
                    <a:pt x="2493" y="250"/>
                  </a:lnTo>
                  <a:lnTo>
                    <a:pt x="2488" y="241"/>
                  </a:lnTo>
                  <a:lnTo>
                    <a:pt x="2486" y="231"/>
                  </a:lnTo>
                  <a:lnTo>
                    <a:pt x="2484" y="221"/>
                  </a:lnTo>
                  <a:lnTo>
                    <a:pt x="2482" y="211"/>
                  </a:lnTo>
                  <a:lnTo>
                    <a:pt x="2481" y="201"/>
                  </a:lnTo>
                  <a:lnTo>
                    <a:pt x="2482" y="189"/>
                  </a:lnTo>
                  <a:lnTo>
                    <a:pt x="2484" y="179"/>
                  </a:lnTo>
                  <a:lnTo>
                    <a:pt x="2486" y="170"/>
                  </a:lnTo>
                  <a:lnTo>
                    <a:pt x="2489" y="160"/>
                  </a:lnTo>
                  <a:lnTo>
                    <a:pt x="2494" y="152"/>
                  </a:lnTo>
                  <a:lnTo>
                    <a:pt x="2498" y="144"/>
                  </a:lnTo>
                  <a:lnTo>
                    <a:pt x="2504" y="137"/>
                  </a:lnTo>
                  <a:lnTo>
                    <a:pt x="2511" y="131"/>
                  </a:lnTo>
                  <a:lnTo>
                    <a:pt x="2520" y="127"/>
                  </a:lnTo>
                  <a:lnTo>
                    <a:pt x="2528" y="124"/>
                  </a:lnTo>
                  <a:lnTo>
                    <a:pt x="2538" y="120"/>
                  </a:lnTo>
                  <a:lnTo>
                    <a:pt x="2550" y="117"/>
                  </a:lnTo>
                  <a:lnTo>
                    <a:pt x="2561" y="114"/>
                  </a:lnTo>
                  <a:lnTo>
                    <a:pt x="2575" y="113"/>
                  </a:lnTo>
                  <a:lnTo>
                    <a:pt x="2588" y="112"/>
                  </a:lnTo>
                  <a:lnTo>
                    <a:pt x="2603" y="112"/>
                  </a:lnTo>
                  <a:lnTo>
                    <a:pt x="2634" y="112"/>
                  </a:lnTo>
                  <a:lnTo>
                    <a:pt x="2656" y="113"/>
                  </a:lnTo>
                  <a:lnTo>
                    <a:pt x="2667" y="114"/>
                  </a:lnTo>
                  <a:lnTo>
                    <a:pt x="2671" y="114"/>
                  </a:lnTo>
                  <a:close/>
                  <a:moveTo>
                    <a:pt x="2219" y="18"/>
                  </a:moveTo>
                  <a:lnTo>
                    <a:pt x="2213" y="12"/>
                  </a:lnTo>
                  <a:lnTo>
                    <a:pt x="2207" y="9"/>
                  </a:lnTo>
                  <a:lnTo>
                    <a:pt x="2199" y="6"/>
                  </a:lnTo>
                  <a:lnTo>
                    <a:pt x="2189" y="6"/>
                  </a:lnTo>
                  <a:lnTo>
                    <a:pt x="2120" y="6"/>
                  </a:lnTo>
                  <a:lnTo>
                    <a:pt x="2112" y="6"/>
                  </a:lnTo>
                  <a:lnTo>
                    <a:pt x="2104" y="9"/>
                  </a:lnTo>
                  <a:lnTo>
                    <a:pt x="2098" y="12"/>
                  </a:lnTo>
                  <a:lnTo>
                    <a:pt x="2093" y="16"/>
                  </a:lnTo>
                  <a:lnTo>
                    <a:pt x="2086" y="24"/>
                  </a:lnTo>
                  <a:lnTo>
                    <a:pt x="2082" y="29"/>
                  </a:lnTo>
                  <a:lnTo>
                    <a:pt x="2077" y="41"/>
                  </a:lnTo>
                  <a:lnTo>
                    <a:pt x="2062" y="70"/>
                  </a:lnTo>
                  <a:lnTo>
                    <a:pt x="2040" y="111"/>
                  </a:lnTo>
                  <a:lnTo>
                    <a:pt x="2016" y="158"/>
                  </a:lnTo>
                  <a:lnTo>
                    <a:pt x="1992" y="205"/>
                  </a:lnTo>
                  <a:lnTo>
                    <a:pt x="1972" y="246"/>
                  </a:lnTo>
                  <a:lnTo>
                    <a:pt x="1957" y="276"/>
                  </a:lnTo>
                  <a:lnTo>
                    <a:pt x="1950" y="287"/>
                  </a:lnTo>
                  <a:lnTo>
                    <a:pt x="1944" y="276"/>
                  </a:lnTo>
                  <a:lnTo>
                    <a:pt x="1929" y="246"/>
                  </a:lnTo>
                  <a:lnTo>
                    <a:pt x="1909" y="205"/>
                  </a:lnTo>
                  <a:lnTo>
                    <a:pt x="1885" y="159"/>
                  </a:lnTo>
                  <a:lnTo>
                    <a:pt x="1860" y="111"/>
                  </a:lnTo>
                  <a:lnTo>
                    <a:pt x="1839" y="70"/>
                  </a:lnTo>
                  <a:lnTo>
                    <a:pt x="1825" y="41"/>
                  </a:lnTo>
                  <a:lnTo>
                    <a:pt x="1819" y="30"/>
                  </a:lnTo>
                  <a:lnTo>
                    <a:pt x="1815" y="24"/>
                  </a:lnTo>
                  <a:lnTo>
                    <a:pt x="1807" y="16"/>
                  </a:lnTo>
                  <a:lnTo>
                    <a:pt x="1803" y="12"/>
                  </a:lnTo>
                  <a:lnTo>
                    <a:pt x="1796" y="9"/>
                  </a:lnTo>
                  <a:lnTo>
                    <a:pt x="1789" y="6"/>
                  </a:lnTo>
                  <a:lnTo>
                    <a:pt x="1781" y="6"/>
                  </a:lnTo>
                  <a:lnTo>
                    <a:pt x="1711" y="6"/>
                  </a:lnTo>
                  <a:lnTo>
                    <a:pt x="1703" y="6"/>
                  </a:lnTo>
                  <a:lnTo>
                    <a:pt x="1695" y="9"/>
                  </a:lnTo>
                  <a:lnTo>
                    <a:pt x="1688" y="12"/>
                  </a:lnTo>
                  <a:lnTo>
                    <a:pt x="1682" y="18"/>
                  </a:lnTo>
                  <a:lnTo>
                    <a:pt x="1676" y="24"/>
                  </a:lnTo>
                  <a:lnTo>
                    <a:pt x="1673" y="30"/>
                  </a:lnTo>
                  <a:lnTo>
                    <a:pt x="1671" y="38"/>
                  </a:lnTo>
                  <a:lnTo>
                    <a:pt x="1670" y="46"/>
                  </a:lnTo>
                  <a:lnTo>
                    <a:pt x="1670" y="586"/>
                  </a:lnTo>
                  <a:lnTo>
                    <a:pt x="1671" y="592"/>
                  </a:lnTo>
                  <a:lnTo>
                    <a:pt x="1672" y="596"/>
                  </a:lnTo>
                  <a:lnTo>
                    <a:pt x="1675" y="600"/>
                  </a:lnTo>
                  <a:lnTo>
                    <a:pt x="1678" y="601"/>
                  </a:lnTo>
                  <a:lnTo>
                    <a:pt x="1684" y="604"/>
                  </a:lnTo>
                  <a:lnTo>
                    <a:pt x="1691" y="605"/>
                  </a:lnTo>
                  <a:lnTo>
                    <a:pt x="1778" y="605"/>
                  </a:lnTo>
                  <a:lnTo>
                    <a:pt x="1782" y="605"/>
                  </a:lnTo>
                  <a:lnTo>
                    <a:pt x="1786" y="603"/>
                  </a:lnTo>
                  <a:lnTo>
                    <a:pt x="1789" y="601"/>
                  </a:lnTo>
                  <a:lnTo>
                    <a:pt x="1793" y="597"/>
                  </a:lnTo>
                  <a:lnTo>
                    <a:pt x="1795" y="594"/>
                  </a:lnTo>
                  <a:lnTo>
                    <a:pt x="1797" y="590"/>
                  </a:lnTo>
                  <a:lnTo>
                    <a:pt x="1798" y="586"/>
                  </a:lnTo>
                  <a:lnTo>
                    <a:pt x="1798" y="581"/>
                  </a:lnTo>
                  <a:lnTo>
                    <a:pt x="1798" y="247"/>
                  </a:lnTo>
                  <a:lnTo>
                    <a:pt x="1801" y="247"/>
                  </a:lnTo>
                  <a:lnTo>
                    <a:pt x="1875" y="385"/>
                  </a:lnTo>
                  <a:lnTo>
                    <a:pt x="1882" y="393"/>
                  </a:lnTo>
                  <a:lnTo>
                    <a:pt x="1888" y="397"/>
                  </a:lnTo>
                  <a:lnTo>
                    <a:pt x="1893" y="400"/>
                  </a:lnTo>
                  <a:lnTo>
                    <a:pt x="1898" y="402"/>
                  </a:lnTo>
                  <a:lnTo>
                    <a:pt x="1903" y="402"/>
                  </a:lnTo>
                  <a:lnTo>
                    <a:pt x="1908" y="403"/>
                  </a:lnTo>
                  <a:lnTo>
                    <a:pt x="1993" y="403"/>
                  </a:lnTo>
                  <a:lnTo>
                    <a:pt x="1999" y="402"/>
                  </a:lnTo>
                  <a:lnTo>
                    <a:pt x="2005" y="401"/>
                  </a:lnTo>
                  <a:lnTo>
                    <a:pt x="2009" y="400"/>
                  </a:lnTo>
                  <a:lnTo>
                    <a:pt x="2013" y="397"/>
                  </a:lnTo>
                  <a:lnTo>
                    <a:pt x="2017" y="395"/>
                  </a:lnTo>
                  <a:lnTo>
                    <a:pt x="2022" y="392"/>
                  </a:lnTo>
                  <a:lnTo>
                    <a:pt x="2025" y="388"/>
                  </a:lnTo>
                  <a:lnTo>
                    <a:pt x="2028" y="385"/>
                  </a:lnTo>
                  <a:lnTo>
                    <a:pt x="2099" y="247"/>
                  </a:lnTo>
                  <a:lnTo>
                    <a:pt x="2103" y="247"/>
                  </a:lnTo>
                  <a:lnTo>
                    <a:pt x="2103" y="581"/>
                  </a:lnTo>
                  <a:lnTo>
                    <a:pt x="2103" y="586"/>
                  </a:lnTo>
                  <a:lnTo>
                    <a:pt x="2104" y="590"/>
                  </a:lnTo>
                  <a:lnTo>
                    <a:pt x="2105" y="594"/>
                  </a:lnTo>
                  <a:lnTo>
                    <a:pt x="2107" y="597"/>
                  </a:lnTo>
                  <a:lnTo>
                    <a:pt x="2111" y="601"/>
                  </a:lnTo>
                  <a:lnTo>
                    <a:pt x="2115" y="603"/>
                  </a:lnTo>
                  <a:lnTo>
                    <a:pt x="2119" y="605"/>
                  </a:lnTo>
                  <a:lnTo>
                    <a:pt x="2123" y="605"/>
                  </a:lnTo>
                  <a:lnTo>
                    <a:pt x="2210" y="605"/>
                  </a:lnTo>
                  <a:lnTo>
                    <a:pt x="2213" y="605"/>
                  </a:lnTo>
                  <a:lnTo>
                    <a:pt x="2217" y="604"/>
                  </a:lnTo>
                  <a:lnTo>
                    <a:pt x="2220" y="603"/>
                  </a:lnTo>
                  <a:lnTo>
                    <a:pt x="2224" y="601"/>
                  </a:lnTo>
                  <a:lnTo>
                    <a:pt x="2227" y="598"/>
                  </a:lnTo>
                  <a:lnTo>
                    <a:pt x="2229" y="595"/>
                  </a:lnTo>
                  <a:lnTo>
                    <a:pt x="2230" y="590"/>
                  </a:lnTo>
                  <a:lnTo>
                    <a:pt x="2232" y="586"/>
                  </a:lnTo>
                  <a:lnTo>
                    <a:pt x="2232" y="46"/>
                  </a:lnTo>
                  <a:lnTo>
                    <a:pt x="2230" y="38"/>
                  </a:lnTo>
                  <a:lnTo>
                    <a:pt x="2228" y="30"/>
                  </a:lnTo>
                  <a:lnTo>
                    <a:pt x="2225" y="24"/>
                  </a:lnTo>
                  <a:lnTo>
                    <a:pt x="2219" y="18"/>
                  </a:lnTo>
                  <a:close/>
                  <a:moveTo>
                    <a:pt x="1300" y="125"/>
                  </a:moveTo>
                  <a:lnTo>
                    <a:pt x="1304" y="122"/>
                  </a:lnTo>
                  <a:lnTo>
                    <a:pt x="1308" y="119"/>
                  </a:lnTo>
                  <a:lnTo>
                    <a:pt x="1313" y="117"/>
                  </a:lnTo>
                  <a:lnTo>
                    <a:pt x="1318" y="116"/>
                  </a:lnTo>
                  <a:lnTo>
                    <a:pt x="1332" y="113"/>
                  </a:lnTo>
                  <a:lnTo>
                    <a:pt x="1347" y="112"/>
                  </a:lnTo>
                  <a:lnTo>
                    <a:pt x="1521" y="112"/>
                  </a:lnTo>
                  <a:lnTo>
                    <a:pt x="1526" y="112"/>
                  </a:lnTo>
                  <a:lnTo>
                    <a:pt x="1530" y="110"/>
                  </a:lnTo>
                  <a:lnTo>
                    <a:pt x="1535" y="108"/>
                  </a:lnTo>
                  <a:lnTo>
                    <a:pt x="1538" y="105"/>
                  </a:lnTo>
                  <a:lnTo>
                    <a:pt x="1542" y="101"/>
                  </a:lnTo>
                  <a:lnTo>
                    <a:pt x="1544" y="97"/>
                  </a:lnTo>
                  <a:lnTo>
                    <a:pt x="1545" y="93"/>
                  </a:lnTo>
                  <a:lnTo>
                    <a:pt x="1545" y="88"/>
                  </a:lnTo>
                  <a:lnTo>
                    <a:pt x="1545" y="36"/>
                  </a:lnTo>
                  <a:lnTo>
                    <a:pt x="1545" y="30"/>
                  </a:lnTo>
                  <a:lnTo>
                    <a:pt x="1544" y="26"/>
                  </a:lnTo>
                  <a:lnTo>
                    <a:pt x="1543" y="21"/>
                  </a:lnTo>
                  <a:lnTo>
                    <a:pt x="1540" y="18"/>
                  </a:lnTo>
                  <a:lnTo>
                    <a:pt x="1538" y="17"/>
                  </a:lnTo>
                  <a:lnTo>
                    <a:pt x="1532" y="13"/>
                  </a:lnTo>
                  <a:lnTo>
                    <a:pt x="1522" y="11"/>
                  </a:lnTo>
                  <a:lnTo>
                    <a:pt x="1516" y="10"/>
                  </a:lnTo>
                  <a:lnTo>
                    <a:pt x="1508" y="9"/>
                  </a:lnTo>
                  <a:lnTo>
                    <a:pt x="1500" y="8"/>
                  </a:lnTo>
                  <a:lnTo>
                    <a:pt x="1486" y="5"/>
                  </a:lnTo>
                  <a:lnTo>
                    <a:pt x="1468" y="4"/>
                  </a:lnTo>
                  <a:lnTo>
                    <a:pt x="1459" y="3"/>
                  </a:lnTo>
                  <a:lnTo>
                    <a:pt x="1448" y="2"/>
                  </a:lnTo>
                  <a:lnTo>
                    <a:pt x="1437" y="1"/>
                  </a:lnTo>
                  <a:lnTo>
                    <a:pt x="1424" y="1"/>
                  </a:lnTo>
                  <a:lnTo>
                    <a:pt x="1410" y="0"/>
                  </a:lnTo>
                  <a:lnTo>
                    <a:pt x="1394" y="0"/>
                  </a:lnTo>
                  <a:lnTo>
                    <a:pt x="1378" y="0"/>
                  </a:lnTo>
                  <a:lnTo>
                    <a:pt x="1359" y="0"/>
                  </a:lnTo>
                  <a:lnTo>
                    <a:pt x="1339" y="0"/>
                  </a:lnTo>
                  <a:lnTo>
                    <a:pt x="1320" y="1"/>
                  </a:lnTo>
                  <a:lnTo>
                    <a:pt x="1300" y="3"/>
                  </a:lnTo>
                  <a:lnTo>
                    <a:pt x="1281" y="6"/>
                  </a:lnTo>
                  <a:lnTo>
                    <a:pt x="1263" y="10"/>
                  </a:lnTo>
                  <a:lnTo>
                    <a:pt x="1245" y="16"/>
                  </a:lnTo>
                  <a:lnTo>
                    <a:pt x="1229" y="24"/>
                  </a:lnTo>
                  <a:lnTo>
                    <a:pt x="1215" y="33"/>
                  </a:lnTo>
                  <a:lnTo>
                    <a:pt x="1208" y="38"/>
                  </a:lnTo>
                  <a:lnTo>
                    <a:pt x="1201" y="44"/>
                  </a:lnTo>
                  <a:lnTo>
                    <a:pt x="1195" y="50"/>
                  </a:lnTo>
                  <a:lnTo>
                    <a:pt x="1190" y="56"/>
                  </a:lnTo>
                  <a:lnTo>
                    <a:pt x="1184" y="63"/>
                  </a:lnTo>
                  <a:lnTo>
                    <a:pt x="1179" y="71"/>
                  </a:lnTo>
                  <a:lnTo>
                    <a:pt x="1175" y="79"/>
                  </a:lnTo>
                  <a:lnTo>
                    <a:pt x="1171" y="87"/>
                  </a:lnTo>
                  <a:lnTo>
                    <a:pt x="1167" y="96"/>
                  </a:lnTo>
                  <a:lnTo>
                    <a:pt x="1163" y="105"/>
                  </a:lnTo>
                  <a:lnTo>
                    <a:pt x="1161" y="116"/>
                  </a:lnTo>
                  <a:lnTo>
                    <a:pt x="1159" y="126"/>
                  </a:lnTo>
                  <a:lnTo>
                    <a:pt x="1156" y="138"/>
                  </a:lnTo>
                  <a:lnTo>
                    <a:pt x="1155" y="150"/>
                  </a:lnTo>
                  <a:lnTo>
                    <a:pt x="1154" y="162"/>
                  </a:lnTo>
                  <a:lnTo>
                    <a:pt x="1154" y="176"/>
                  </a:lnTo>
                  <a:lnTo>
                    <a:pt x="1154" y="435"/>
                  </a:lnTo>
                  <a:lnTo>
                    <a:pt x="1154" y="448"/>
                  </a:lnTo>
                  <a:lnTo>
                    <a:pt x="1155" y="462"/>
                  </a:lnTo>
                  <a:lnTo>
                    <a:pt x="1156" y="473"/>
                  </a:lnTo>
                  <a:lnTo>
                    <a:pt x="1158" y="485"/>
                  </a:lnTo>
                  <a:lnTo>
                    <a:pt x="1160" y="496"/>
                  </a:lnTo>
                  <a:lnTo>
                    <a:pt x="1163" y="505"/>
                  </a:lnTo>
                  <a:lnTo>
                    <a:pt x="1167" y="515"/>
                  </a:lnTo>
                  <a:lnTo>
                    <a:pt x="1170" y="523"/>
                  </a:lnTo>
                  <a:lnTo>
                    <a:pt x="1175" y="533"/>
                  </a:lnTo>
                  <a:lnTo>
                    <a:pt x="1179" y="540"/>
                  </a:lnTo>
                  <a:lnTo>
                    <a:pt x="1184" y="548"/>
                  </a:lnTo>
                  <a:lnTo>
                    <a:pt x="1190" y="555"/>
                  </a:lnTo>
                  <a:lnTo>
                    <a:pt x="1195" y="562"/>
                  </a:lnTo>
                  <a:lnTo>
                    <a:pt x="1201" y="568"/>
                  </a:lnTo>
                  <a:lnTo>
                    <a:pt x="1208" y="573"/>
                  </a:lnTo>
                  <a:lnTo>
                    <a:pt x="1215" y="578"/>
                  </a:lnTo>
                  <a:lnTo>
                    <a:pt x="1229" y="587"/>
                  </a:lnTo>
                  <a:lnTo>
                    <a:pt x="1244" y="595"/>
                  </a:lnTo>
                  <a:lnTo>
                    <a:pt x="1261" y="601"/>
                  </a:lnTo>
                  <a:lnTo>
                    <a:pt x="1281" y="605"/>
                  </a:lnTo>
                  <a:lnTo>
                    <a:pt x="1299" y="608"/>
                  </a:lnTo>
                  <a:lnTo>
                    <a:pt x="1318" y="610"/>
                  </a:lnTo>
                  <a:lnTo>
                    <a:pt x="1338" y="611"/>
                  </a:lnTo>
                  <a:lnTo>
                    <a:pt x="1359" y="612"/>
                  </a:lnTo>
                  <a:lnTo>
                    <a:pt x="1378" y="611"/>
                  </a:lnTo>
                  <a:lnTo>
                    <a:pt x="1395" y="611"/>
                  </a:lnTo>
                  <a:lnTo>
                    <a:pt x="1410" y="611"/>
                  </a:lnTo>
                  <a:lnTo>
                    <a:pt x="1424" y="611"/>
                  </a:lnTo>
                  <a:lnTo>
                    <a:pt x="1436" y="610"/>
                  </a:lnTo>
                  <a:lnTo>
                    <a:pt x="1447" y="610"/>
                  </a:lnTo>
                  <a:lnTo>
                    <a:pt x="1459" y="609"/>
                  </a:lnTo>
                  <a:lnTo>
                    <a:pt x="1468" y="608"/>
                  </a:lnTo>
                  <a:lnTo>
                    <a:pt x="1486" y="606"/>
                  </a:lnTo>
                  <a:lnTo>
                    <a:pt x="1501" y="604"/>
                  </a:lnTo>
                  <a:lnTo>
                    <a:pt x="1520" y="600"/>
                  </a:lnTo>
                  <a:lnTo>
                    <a:pt x="1532" y="597"/>
                  </a:lnTo>
                  <a:lnTo>
                    <a:pt x="1537" y="595"/>
                  </a:lnTo>
                  <a:lnTo>
                    <a:pt x="1540" y="593"/>
                  </a:lnTo>
                  <a:lnTo>
                    <a:pt x="1542" y="590"/>
                  </a:lnTo>
                  <a:lnTo>
                    <a:pt x="1544" y="586"/>
                  </a:lnTo>
                  <a:lnTo>
                    <a:pt x="1545" y="581"/>
                  </a:lnTo>
                  <a:lnTo>
                    <a:pt x="1545" y="576"/>
                  </a:lnTo>
                  <a:lnTo>
                    <a:pt x="1545" y="522"/>
                  </a:lnTo>
                  <a:lnTo>
                    <a:pt x="1545" y="518"/>
                  </a:lnTo>
                  <a:lnTo>
                    <a:pt x="1544" y="514"/>
                  </a:lnTo>
                  <a:lnTo>
                    <a:pt x="1542" y="510"/>
                  </a:lnTo>
                  <a:lnTo>
                    <a:pt x="1538" y="505"/>
                  </a:lnTo>
                  <a:lnTo>
                    <a:pt x="1534" y="503"/>
                  </a:lnTo>
                  <a:lnTo>
                    <a:pt x="1530" y="501"/>
                  </a:lnTo>
                  <a:lnTo>
                    <a:pt x="1526" y="500"/>
                  </a:lnTo>
                  <a:lnTo>
                    <a:pt x="1521" y="498"/>
                  </a:lnTo>
                  <a:lnTo>
                    <a:pt x="1347" y="498"/>
                  </a:lnTo>
                  <a:lnTo>
                    <a:pt x="1332" y="498"/>
                  </a:lnTo>
                  <a:lnTo>
                    <a:pt x="1318" y="496"/>
                  </a:lnTo>
                  <a:lnTo>
                    <a:pt x="1313" y="494"/>
                  </a:lnTo>
                  <a:lnTo>
                    <a:pt x="1308" y="492"/>
                  </a:lnTo>
                  <a:lnTo>
                    <a:pt x="1304" y="489"/>
                  </a:lnTo>
                  <a:lnTo>
                    <a:pt x="1300" y="486"/>
                  </a:lnTo>
                  <a:lnTo>
                    <a:pt x="1298" y="483"/>
                  </a:lnTo>
                  <a:lnTo>
                    <a:pt x="1294" y="478"/>
                  </a:lnTo>
                  <a:lnTo>
                    <a:pt x="1292" y="472"/>
                  </a:lnTo>
                  <a:lnTo>
                    <a:pt x="1291" y="467"/>
                  </a:lnTo>
                  <a:lnTo>
                    <a:pt x="1289" y="452"/>
                  </a:lnTo>
                  <a:lnTo>
                    <a:pt x="1288" y="435"/>
                  </a:lnTo>
                  <a:lnTo>
                    <a:pt x="1288" y="351"/>
                  </a:lnTo>
                  <a:lnTo>
                    <a:pt x="1511" y="351"/>
                  </a:lnTo>
                  <a:lnTo>
                    <a:pt x="1517" y="350"/>
                  </a:lnTo>
                  <a:lnTo>
                    <a:pt x="1520" y="348"/>
                  </a:lnTo>
                  <a:lnTo>
                    <a:pt x="1525" y="346"/>
                  </a:lnTo>
                  <a:lnTo>
                    <a:pt x="1528" y="344"/>
                  </a:lnTo>
                  <a:lnTo>
                    <a:pt x="1532" y="339"/>
                  </a:lnTo>
                  <a:lnTo>
                    <a:pt x="1534" y="336"/>
                  </a:lnTo>
                  <a:lnTo>
                    <a:pt x="1535" y="331"/>
                  </a:lnTo>
                  <a:lnTo>
                    <a:pt x="1535" y="327"/>
                  </a:lnTo>
                  <a:lnTo>
                    <a:pt x="1535" y="268"/>
                  </a:lnTo>
                  <a:lnTo>
                    <a:pt x="1535" y="262"/>
                  </a:lnTo>
                  <a:lnTo>
                    <a:pt x="1534" y="258"/>
                  </a:lnTo>
                  <a:lnTo>
                    <a:pt x="1532" y="254"/>
                  </a:lnTo>
                  <a:lnTo>
                    <a:pt x="1528" y="251"/>
                  </a:lnTo>
                  <a:lnTo>
                    <a:pt x="1525" y="247"/>
                  </a:lnTo>
                  <a:lnTo>
                    <a:pt x="1520" y="245"/>
                  </a:lnTo>
                  <a:lnTo>
                    <a:pt x="1516" y="244"/>
                  </a:lnTo>
                  <a:lnTo>
                    <a:pt x="1511" y="243"/>
                  </a:lnTo>
                  <a:lnTo>
                    <a:pt x="1288" y="243"/>
                  </a:lnTo>
                  <a:lnTo>
                    <a:pt x="1288" y="176"/>
                  </a:lnTo>
                  <a:lnTo>
                    <a:pt x="1289" y="159"/>
                  </a:lnTo>
                  <a:lnTo>
                    <a:pt x="1291" y="145"/>
                  </a:lnTo>
                  <a:lnTo>
                    <a:pt x="1292" y="138"/>
                  </a:lnTo>
                  <a:lnTo>
                    <a:pt x="1294" y="134"/>
                  </a:lnTo>
                  <a:lnTo>
                    <a:pt x="1297" y="129"/>
                  </a:lnTo>
                  <a:lnTo>
                    <a:pt x="1300" y="125"/>
                  </a:lnTo>
                  <a:close/>
                  <a:moveTo>
                    <a:pt x="425" y="301"/>
                  </a:moveTo>
                  <a:lnTo>
                    <a:pt x="439" y="292"/>
                  </a:lnTo>
                  <a:lnTo>
                    <a:pt x="453" y="281"/>
                  </a:lnTo>
                  <a:lnTo>
                    <a:pt x="463" y="269"/>
                  </a:lnTo>
                  <a:lnTo>
                    <a:pt x="474" y="254"/>
                  </a:lnTo>
                  <a:lnTo>
                    <a:pt x="478" y="245"/>
                  </a:lnTo>
                  <a:lnTo>
                    <a:pt x="483" y="236"/>
                  </a:lnTo>
                  <a:lnTo>
                    <a:pt x="486" y="227"/>
                  </a:lnTo>
                  <a:lnTo>
                    <a:pt x="488" y="218"/>
                  </a:lnTo>
                  <a:lnTo>
                    <a:pt x="491" y="208"/>
                  </a:lnTo>
                  <a:lnTo>
                    <a:pt x="493" y="197"/>
                  </a:lnTo>
                  <a:lnTo>
                    <a:pt x="493" y="187"/>
                  </a:lnTo>
                  <a:lnTo>
                    <a:pt x="494" y="176"/>
                  </a:lnTo>
                  <a:lnTo>
                    <a:pt x="493" y="164"/>
                  </a:lnTo>
                  <a:lnTo>
                    <a:pt x="493" y="152"/>
                  </a:lnTo>
                  <a:lnTo>
                    <a:pt x="491" y="141"/>
                  </a:lnTo>
                  <a:lnTo>
                    <a:pt x="488" y="130"/>
                  </a:lnTo>
                  <a:lnTo>
                    <a:pt x="486" y="119"/>
                  </a:lnTo>
                  <a:lnTo>
                    <a:pt x="483" y="110"/>
                  </a:lnTo>
                  <a:lnTo>
                    <a:pt x="478" y="101"/>
                  </a:lnTo>
                  <a:lnTo>
                    <a:pt x="474" y="92"/>
                  </a:lnTo>
                  <a:lnTo>
                    <a:pt x="469" y="84"/>
                  </a:lnTo>
                  <a:lnTo>
                    <a:pt x="463" y="76"/>
                  </a:lnTo>
                  <a:lnTo>
                    <a:pt x="456" y="69"/>
                  </a:lnTo>
                  <a:lnTo>
                    <a:pt x="450" y="62"/>
                  </a:lnTo>
                  <a:lnTo>
                    <a:pt x="443" y="55"/>
                  </a:lnTo>
                  <a:lnTo>
                    <a:pt x="435" y="50"/>
                  </a:lnTo>
                  <a:lnTo>
                    <a:pt x="426" y="44"/>
                  </a:lnTo>
                  <a:lnTo>
                    <a:pt x="417" y="38"/>
                  </a:lnTo>
                  <a:lnTo>
                    <a:pt x="398" y="28"/>
                  </a:lnTo>
                  <a:lnTo>
                    <a:pt x="378" y="20"/>
                  </a:lnTo>
                  <a:lnTo>
                    <a:pt x="355" y="13"/>
                  </a:lnTo>
                  <a:lnTo>
                    <a:pt x="332" y="8"/>
                  </a:lnTo>
                  <a:lnTo>
                    <a:pt x="306" y="4"/>
                  </a:lnTo>
                  <a:lnTo>
                    <a:pt x="280" y="2"/>
                  </a:lnTo>
                  <a:lnTo>
                    <a:pt x="252" y="0"/>
                  </a:lnTo>
                  <a:lnTo>
                    <a:pt x="225" y="0"/>
                  </a:lnTo>
                  <a:lnTo>
                    <a:pt x="201" y="0"/>
                  </a:lnTo>
                  <a:lnTo>
                    <a:pt x="178" y="0"/>
                  </a:lnTo>
                  <a:lnTo>
                    <a:pt x="157" y="1"/>
                  </a:lnTo>
                  <a:lnTo>
                    <a:pt x="136" y="3"/>
                  </a:lnTo>
                  <a:lnTo>
                    <a:pt x="121" y="3"/>
                  </a:lnTo>
                  <a:lnTo>
                    <a:pt x="108" y="4"/>
                  </a:lnTo>
                  <a:lnTo>
                    <a:pt x="94" y="6"/>
                  </a:lnTo>
                  <a:lnTo>
                    <a:pt x="81" y="8"/>
                  </a:lnTo>
                  <a:lnTo>
                    <a:pt x="71" y="10"/>
                  </a:lnTo>
                  <a:lnTo>
                    <a:pt x="62" y="13"/>
                  </a:lnTo>
                  <a:lnTo>
                    <a:pt x="54" y="18"/>
                  </a:lnTo>
                  <a:lnTo>
                    <a:pt x="47" y="22"/>
                  </a:lnTo>
                  <a:lnTo>
                    <a:pt x="43" y="29"/>
                  </a:lnTo>
                  <a:lnTo>
                    <a:pt x="39" y="38"/>
                  </a:lnTo>
                  <a:lnTo>
                    <a:pt x="38" y="47"/>
                  </a:lnTo>
                  <a:lnTo>
                    <a:pt x="37" y="60"/>
                  </a:lnTo>
                  <a:lnTo>
                    <a:pt x="37" y="551"/>
                  </a:lnTo>
                  <a:lnTo>
                    <a:pt x="38" y="562"/>
                  </a:lnTo>
                  <a:lnTo>
                    <a:pt x="40" y="572"/>
                  </a:lnTo>
                  <a:lnTo>
                    <a:pt x="44" y="581"/>
                  </a:lnTo>
                  <a:lnTo>
                    <a:pt x="48" y="588"/>
                  </a:lnTo>
                  <a:lnTo>
                    <a:pt x="55" y="593"/>
                  </a:lnTo>
                  <a:lnTo>
                    <a:pt x="63" y="596"/>
                  </a:lnTo>
                  <a:lnTo>
                    <a:pt x="72" y="600"/>
                  </a:lnTo>
                  <a:lnTo>
                    <a:pt x="84" y="603"/>
                  </a:lnTo>
                  <a:lnTo>
                    <a:pt x="95" y="604"/>
                  </a:lnTo>
                  <a:lnTo>
                    <a:pt x="109" y="606"/>
                  </a:lnTo>
                  <a:lnTo>
                    <a:pt x="125" y="608"/>
                  </a:lnTo>
                  <a:lnTo>
                    <a:pt x="142" y="609"/>
                  </a:lnTo>
                  <a:lnTo>
                    <a:pt x="163" y="611"/>
                  </a:lnTo>
                  <a:lnTo>
                    <a:pt x="185" y="611"/>
                  </a:lnTo>
                  <a:lnTo>
                    <a:pt x="209" y="611"/>
                  </a:lnTo>
                  <a:lnTo>
                    <a:pt x="232" y="612"/>
                  </a:lnTo>
                  <a:lnTo>
                    <a:pt x="263" y="611"/>
                  </a:lnTo>
                  <a:lnTo>
                    <a:pt x="291" y="609"/>
                  </a:lnTo>
                  <a:lnTo>
                    <a:pt x="317" y="606"/>
                  </a:lnTo>
                  <a:lnTo>
                    <a:pt x="340" y="602"/>
                  </a:lnTo>
                  <a:lnTo>
                    <a:pt x="364" y="596"/>
                  </a:lnTo>
                  <a:lnTo>
                    <a:pt x="386" y="589"/>
                  </a:lnTo>
                  <a:lnTo>
                    <a:pt x="406" y="580"/>
                  </a:lnTo>
                  <a:lnTo>
                    <a:pt x="425" y="570"/>
                  </a:lnTo>
                  <a:lnTo>
                    <a:pt x="434" y="564"/>
                  </a:lnTo>
                  <a:lnTo>
                    <a:pt x="442" y="559"/>
                  </a:lnTo>
                  <a:lnTo>
                    <a:pt x="448" y="552"/>
                  </a:lnTo>
                  <a:lnTo>
                    <a:pt x="456" y="545"/>
                  </a:lnTo>
                  <a:lnTo>
                    <a:pt x="462" y="537"/>
                  </a:lnTo>
                  <a:lnTo>
                    <a:pt x="468" y="529"/>
                  </a:lnTo>
                  <a:lnTo>
                    <a:pt x="474" y="521"/>
                  </a:lnTo>
                  <a:lnTo>
                    <a:pt x="479" y="513"/>
                  </a:lnTo>
                  <a:lnTo>
                    <a:pt x="484" y="503"/>
                  </a:lnTo>
                  <a:lnTo>
                    <a:pt x="488" y="493"/>
                  </a:lnTo>
                  <a:lnTo>
                    <a:pt x="492" y="483"/>
                  </a:lnTo>
                  <a:lnTo>
                    <a:pt x="494" y="471"/>
                  </a:lnTo>
                  <a:lnTo>
                    <a:pt x="496" y="461"/>
                  </a:lnTo>
                  <a:lnTo>
                    <a:pt x="497" y="450"/>
                  </a:lnTo>
                  <a:lnTo>
                    <a:pt x="497" y="437"/>
                  </a:lnTo>
                  <a:lnTo>
                    <a:pt x="497" y="426"/>
                  </a:lnTo>
                  <a:lnTo>
                    <a:pt x="496" y="413"/>
                  </a:lnTo>
                  <a:lnTo>
                    <a:pt x="495" y="402"/>
                  </a:lnTo>
                  <a:lnTo>
                    <a:pt x="492" y="392"/>
                  </a:lnTo>
                  <a:lnTo>
                    <a:pt x="490" y="381"/>
                  </a:lnTo>
                  <a:lnTo>
                    <a:pt x="485" y="371"/>
                  </a:lnTo>
                  <a:lnTo>
                    <a:pt x="482" y="362"/>
                  </a:lnTo>
                  <a:lnTo>
                    <a:pt x="477" y="354"/>
                  </a:lnTo>
                  <a:lnTo>
                    <a:pt x="471" y="346"/>
                  </a:lnTo>
                  <a:lnTo>
                    <a:pt x="460" y="331"/>
                  </a:lnTo>
                  <a:lnTo>
                    <a:pt x="448" y="319"/>
                  </a:lnTo>
                  <a:lnTo>
                    <a:pt x="437" y="309"/>
                  </a:lnTo>
                  <a:lnTo>
                    <a:pt x="425" y="301"/>
                  </a:lnTo>
                  <a:close/>
                  <a:moveTo>
                    <a:pt x="233" y="502"/>
                  </a:moveTo>
                  <a:lnTo>
                    <a:pt x="233" y="502"/>
                  </a:lnTo>
                  <a:lnTo>
                    <a:pt x="217" y="502"/>
                  </a:lnTo>
                  <a:lnTo>
                    <a:pt x="199" y="501"/>
                  </a:lnTo>
                  <a:lnTo>
                    <a:pt x="184" y="501"/>
                  </a:lnTo>
                  <a:lnTo>
                    <a:pt x="170" y="501"/>
                  </a:lnTo>
                  <a:lnTo>
                    <a:pt x="170" y="348"/>
                  </a:lnTo>
                  <a:lnTo>
                    <a:pt x="271" y="348"/>
                  </a:lnTo>
                  <a:lnTo>
                    <a:pt x="284" y="348"/>
                  </a:lnTo>
                  <a:lnTo>
                    <a:pt x="297" y="350"/>
                  </a:lnTo>
                  <a:lnTo>
                    <a:pt x="308" y="352"/>
                  </a:lnTo>
                  <a:lnTo>
                    <a:pt x="317" y="354"/>
                  </a:lnTo>
                  <a:lnTo>
                    <a:pt x="326" y="359"/>
                  </a:lnTo>
                  <a:lnTo>
                    <a:pt x="334" y="363"/>
                  </a:lnTo>
                  <a:lnTo>
                    <a:pt x="341" y="368"/>
                  </a:lnTo>
                  <a:lnTo>
                    <a:pt x="348" y="373"/>
                  </a:lnTo>
                  <a:lnTo>
                    <a:pt x="355" y="381"/>
                  </a:lnTo>
                  <a:lnTo>
                    <a:pt x="361" y="389"/>
                  </a:lnTo>
                  <a:lnTo>
                    <a:pt x="364" y="398"/>
                  </a:lnTo>
                  <a:lnTo>
                    <a:pt x="366" y="406"/>
                  </a:lnTo>
                  <a:lnTo>
                    <a:pt x="369" y="419"/>
                  </a:lnTo>
                  <a:lnTo>
                    <a:pt x="369" y="425"/>
                  </a:lnTo>
                  <a:lnTo>
                    <a:pt x="368" y="435"/>
                  </a:lnTo>
                  <a:lnTo>
                    <a:pt x="366" y="444"/>
                  </a:lnTo>
                  <a:lnTo>
                    <a:pt x="364" y="452"/>
                  </a:lnTo>
                  <a:lnTo>
                    <a:pt x="362" y="459"/>
                  </a:lnTo>
                  <a:lnTo>
                    <a:pt x="358" y="465"/>
                  </a:lnTo>
                  <a:lnTo>
                    <a:pt x="354" y="471"/>
                  </a:lnTo>
                  <a:lnTo>
                    <a:pt x="347" y="477"/>
                  </a:lnTo>
                  <a:lnTo>
                    <a:pt x="340" y="483"/>
                  </a:lnTo>
                  <a:lnTo>
                    <a:pt x="332" y="487"/>
                  </a:lnTo>
                  <a:lnTo>
                    <a:pt x="322" y="492"/>
                  </a:lnTo>
                  <a:lnTo>
                    <a:pt x="311" y="495"/>
                  </a:lnTo>
                  <a:lnTo>
                    <a:pt x="299" y="497"/>
                  </a:lnTo>
                  <a:lnTo>
                    <a:pt x="284" y="500"/>
                  </a:lnTo>
                  <a:lnTo>
                    <a:pt x="268" y="501"/>
                  </a:lnTo>
                  <a:lnTo>
                    <a:pt x="251" y="502"/>
                  </a:lnTo>
                  <a:lnTo>
                    <a:pt x="233" y="502"/>
                  </a:lnTo>
                  <a:close/>
                  <a:moveTo>
                    <a:pt x="360" y="206"/>
                  </a:moveTo>
                  <a:lnTo>
                    <a:pt x="360" y="206"/>
                  </a:lnTo>
                  <a:lnTo>
                    <a:pt x="358" y="212"/>
                  </a:lnTo>
                  <a:lnTo>
                    <a:pt x="355" y="218"/>
                  </a:lnTo>
                  <a:lnTo>
                    <a:pt x="352" y="222"/>
                  </a:lnTo>
                  <a:lnTo>
                    <a:pt x="347" y="228"/>
                  </a:lnTo>
                  <a:lnTo>
                    <a:pt x="340" y="233"/>
                  </a:lnTo>
                  <a:lnTo>
                    <a:pt x="333" y="237"/>
                  </a:lnTo>
                  <a:lnTo>
                    <a:pt x="325" y="241"/>
                  </a:lnTo>
                  <a:lnTo>
                    <a:pt x="317" y="243"/>
                  </a:lnTo>
                  <a:lnTo>
                    <a:pt x="308" y="246"/>
                  </a:lnTo>
                  <a:lnTo>
                    <a:pt x="297" y="247"/>
                  </a:lnTo>
                  <a:lnTo>
                    <a:pt x="285" y="248"/>
                  </a:lnTo>
                  <a:lnTo>
                    <a:pt x="271" y="250"/>
                  </a:lnTo>
                  <a:lnTo>
                    <a:pt x="170" y="250"/>
                  </a:lnTo>
                  <a:lnTo>
                    <a:pt x="170" y="110"/>
                  </a:lnTo>
                  <a:lnTo>
                    <a:pt x="193" y="110"/>
                  </a:lnTo>
                  <a:lnTo>
                    <a:pt x="201" y="110"/>
                  </a:lnTo>
                  <a:lnTo>
                    <a:pt x="209" y="109"/>
                  </a:lnTo>
                  <a:lnTo>
                    <a:pt x="217" y="109"/>
                  </a:lnTo>
                  <a:lnTo>
                    <a:pt x="225" y="109"/>
                  </a:lnTo>
                  <a:lnTo>
                    <a:pt x="244" y="109"/>
                  </a:lnTo>
                  <a:lnTo>
                    <a:pt x="261" y="110"/>
                  </a:lnTo>
                  <a:lnTo>
                    <a:pt x="277" y="111"/>
                  </a:lnTo>
                  <a:lnTo>
                    <a:pt x="292" y="113"/>
                  </a:lnTo>
                  <a:lnTo>
                    <a:pt x="306" y="116"/>
                  </a:lnTo>
                  <a:lnTo>
                    <a:pt x="317" y="119"/>
                  </a:lnTo>
                  <a:lnTo>
                    <a:pt x="328" y="122"/>
                  </a:lnTo>
                  <a:lnTo>
                    <a:pt x="336" y="127"/>
                  </a:lnTo>
                  <a:lnTo>
                    <a:pt x="342" y="131"/>
                  </a:lnTo>
                  <a:lnTo>
                    <a:pt x="348" y="136"/>
                  </a:lnTo>
                  <a:lnTo>
                    <a:pt x="354" y="143"/>
                  </a:lnTo>
                  <a:lnTo>
                    <a:pt x="357" y="150"/>
                  </a:lnTo>
                  <a:lnTo>
                    <a:pt x="361" y="156"/>
                  </a:lnTo>
                  <a:lnTo>
                    <a:pt x="363" y="164"/>
                  </a:lnTo>
                  <a:lnTo>
                    <a:pt x="364" y="171"/>
                  </a:lnTo>
                  <a:lnTo>
                    <a:pt x="364" y="178"/>
                  </a:lnTo>
                  <a:lnTo>
                    <a:pt x="364" y="186"/>
                  </a:lnTo>
                  <a:lnTo>
                    <a:pt x="363" y="193"/>
                  </a:lnTo>
                  <a:lnTo>
                    <a:pt x="362" y="200"/>
                  </a:lnTo>
                  <a:lnTo>
                    <a:pt x="360" y="206"/>
                  </a:lnTo>
                  <a:close/>
                  <a:moveTo>
                    <a:pt x="1406" y="1096"/>
                  </a:moveTo>
                  <a:lnTo>
                    <a:pt x="1622" y="840"/>
                  </a:lnTo>
                  <a:lnTo>
                    <a:pt x="1625" y="836"/>
                  </a:lnTo>
                  <a:lnTo>
                    <a:pt x="1627" y="831"/>
                  </a:lnTo>
                  <a:lnTo>
                    <a:pt x="1628" y="827"/>
                  </a:lnTo>
                  <a:lnTo>
                    <a:pt x="1628" y="823"/>
                  </a:lnTo>
                  <a:lnTo>
                    <a:pt x="1628" y="819"/>
                  </a:lnTo>
                  <a:lnTo>
                    <a:pt x="1625" y="813"/>
                  </a:lnTo>
                  <a:lnTo>
                    <a:pt x="1623" y="810"/>
                  </a:lnTo>
                  <a:lnTo>
                    <a:pt x="1618" y="807"/>
                  </a:lnTo>
                  <a:lnTo>
                    <a:pt x="1613" y="806"/>
                  </a:lnTo>
                  <a:lnTo>
                    <a:pt x="1606" y="806"/>
                  </a:lnTo>
                  <a:lnTo>
                    <a:pt x="1509" y="806"/>
                  </a:lnTo>
                  <a:lnTo>
                    <a:pt x="1501" y="806"/>
                  </a:lnTo>
                  <a:lnTo>
                    <a:pt x="1495" y="807"/>
                  </a:lnTo>
                  <a:lnTo>
                    <a:pt x="1492" y="809"/>
                  </a:lnTo>
                  <a:lnTo>
                    <a:pt x="1488" y="810"/>
                  </a:lnTo>
                  <a:lnTo>
                    <a:pt x="1486" y="812"/>
                  </a:lnTo>
                  <a:lnTo>
                    <a:pt x="1483" y="815"/>
                  </a:lnTo>
                  <a:lnTo>
                    <a:pt x="1289" y="1056"/>
                  </a:lnTo>
                  <a:lnTo>
                    <a:pt x="1288" y="1056"/>
                  </a:lnTo>
                  <a:lnTo>
                    <a:pt x="1288" y="829"/>
                  </a:lnTo>
                  <a:lnTo>
                    <a:pt x="1286" y="824"/>
                  </a:lnTo>
                  <a:lnTo>
                    <a:pt x="1285" y="820"/>
                  </a:lnTo>
                  <a:lnTo>
                    <a:pt x="1283" y="815"/>
                  </a:lnTo>
                  <a:lnTo>
                    <a:pt x="1280" y="813"/>
                  </a:lnTo>
                  <a:lnTo>
                    <a:pt x="1276" y="810"/>
                  </a:lnTo>
                  <a:lnTo>
                    <a:pt x="1272" y="807"/>
                  </a:lnTo>
                  <a:lnTo>
                    <a:pt x="1267" y="806"/>
                  </a:lnTo>
                  <a:lnTo>
                    <a:pt x="1263" y="806"/>
                  </a:lnTo>
                  <a:lnTo>
                    <a:pt x="1178" y="806"/>
                  </a:lnTo>
                  <a:lnTo>
                    <a:pt x="1174" y="806"/>
                  </a:lnTo>
                  <a:lnTo>
                    <a:pt x="1169" y="807"/>
                  </a:lnTo>
                  <a:lnTo>
                    <a:pt x="1166" y="810"/>
                  </a:lnTo>
                  <a:lnTo>
                    <a:pt x="1162" y="812"/>
                  </a:lnTo>
                  <a:lnTo>
                    <a:pt x="1159" y="814"/>
                  </a:lnTo>
                  <a:lnTo>
                    <a:pt x="1156" y="818"/>
                  </a:lnTo>
                  <a:lnTo>
                    <a:pt x="1154" y="823"/>
                  </a:lnTo>
                  <a:lnTo>
                    <a:pt x="1154" y="829"/>
                  </a:lnTo>
                  <a:lnTo>
                    <a:pt x="1154" y="1380"/>
                  </a:lnTo>
                  <a:lnTo>
                    <a:pt x="1154" y="1386"/>
                  </a:lnTo>
                  <a:lnTo>
                    <a:pt x="1155" y="1390"/>
                  </a:lnTo>
                  <a:lnTo>
                    <a:pt x="1158" y="1394"/>
                  </a:lnTo>
                  <a:lnTo>
                    <a:pt x="1161" y="1397"/>
                  </a:lnTo>
                  <a:lnTo>
                    <a:pt x="1164" y="1401"/>
                  </a:lnTo>
                  <a:lnTo>
                    <a:pt x="1169" y="1403"/>
                  </a:lnTo>
                  <a:lnTo>
                    <a:pt x="1174" y="1404"/>
                  </a:lnTo>
                  <a:lnTo>
                    <a:pt x="1178" y="1404"/>
                  </a:lnTo>
                  <a:lnTo>
                    <a:pt x="1263" y="1404"/>
                  </a:lnTo>
                  <a:lnTo>
                    <a:pt x="1268" y="1404"/>
                  </a:lnTo>
                  <a:lnTo>
                    <a:pt x="1273" y="1403"/>
                  </a:lnTo>
                  <a:lnTo>
                    <a:pt x="1276" y="1401"/>
                  </a:lnTo>
                  <a:lnTo>
                    <a:pt x="1280" y="1397"/>
                  </a:lnTo>
                  <a:lnTo>
                    <a:pt x="1283" y="1394"/>
                  </a:lnTo>
                  <a:lnTo>
                    <a:pt x="1285" y="1390"/>
                  </a:lnTo>
                  <a:lnTo>
                    <a:pt x="1286" y="1386"/>
                  </a:lnTo>
                  <a:lnTo>
                    <a:pt x="1288" y="1380"/>
                  </a:lnTo>
                  <a:lnTo>
                    <a:pt x="1288" y="1146"/>
                  </a:lnTo>
                  <a:lnTo>
                    <a:pt x="1290" y="1146"/>
                  </a:lnTo>
                  <a:lnTo>
                    <a:pt x="1469" y="1393"/>
                  </a:lnTo>
                  <a:lnTo>
                    <a:pt x="1473" y="1398"/>
                  </a:lnTo>
                  <a:lnTo>
                    <a:pt x="1480" y="1402"/>
                  </a:lnTo>
                  <a:lnTo>
                    <a:pt x="1487" y="1404"/>
                  </a:lnTo>
                  <a:lnTo>
                    <a:pt x="1494" y="1404"/>
                  </a:lnTo>
                  <a:lnTo>
                    <a:pt x="1609" y="1404"/>
                  </a:lnTo>
                  <a:lnTo>
                    <a:pt x="1615" y="1404"/>
                  </a:lnTo>
                  <a:lnTo>
                    <a:pt x="1619" y="1403"/>
                  </a:lnTo>
                  <a:lnTo>
                    <a:pt x="1623" y="1401"/>
                  </a:lnTo>
                  <a:lnTo>
                    <a:pt x="1626" y="1398"/>
                  </a:lnTo>
                  <a:lnTo>
                    <a:pt x="1628" y="1394"/>
                  </a:lnTo>
                  <a:lnTo>
                    <a:pt x="1628" y="1390"/>
                  </a:lnTo>
                  <a:lnTo>
                    <a:pt x="1628" y="1387"/>
                  </a:lnTo>
                  <a:lnTo>
                    <a:pt x="1627" y="1383"/>
                  </a:lnTo>
                  <a:lnTo>
                    <a:pt x="1626" y="1380"/>
                  </a:lnTo>
                  <a:lnTo>
                    <a:pt x="1623" y="1376"/>
                  </a:lnTo>
                  <a:lnTo>
                    <a:pt x="1406" y="1096"/>
                  </a:lnTo>
                  <a:close/>
                  <a:moveTo>
                    <a:pt x="2714" y="817"/>
                  </a:moveTo>
                  <a:lnTo>
                    <a:pt x="2707" y="812"/>
                  </a:lnTo>
                  <a:lnTo>
                    <a:pt x="2700" y="807"/>
                  </a:lnTo>
                  <a:lnTo>
                    <a:pt x="2692" y="806"/>
                  </a:lnTo>
                  <a:lnTo>
                    <a:pt x="2684" y="805"/>
                  </a:lnTo>
                  <a:lnTo>
                    <a:pt x="2592" y="805"/>
                  </a:lnTo>
                  <a:lnTo>
                    <a:pt x="2585" y="805"/>
                  </a:lnTo>
                  <a:lnTo>
                    <a:pt x="2578" y="806"/>
                  </a:lnTo>
                  <a:lnTo>
                    <a:pt x="2571" y="809"/>
                  </a:lnTo>
                  <a:lnTo>
                    <a:pt x="2567" y="811"/>
                  </a:lnTo>
                  <a:lnTo>
                    <a:pt x="2562" y="814"/>
                  </a:lnTo>
                  <a:lnTo>
                    <a:pt x="2557" y="820"/>
                  </a:lnTo>
                  <a:lnTo>
                    <a:pt x="2553" y="827"/>
                  </a:lnTo>
                  <a:lnTo>
                    <a:pt x="2549" y="836"/>
                  </a:lnTo>
                  <a:lnTo>
                    <a:pt x="2371" y="1221"/>
                  </a:lnTo>
                  <a:lnTo>
                    <a:pt x="2370" y="1221"/>
                  </a:lnTo>
                  <a:lnTo>
                    <a:pt x="2370" y="828"/>
                  </a:lnTo>
                  <a:lnTo>
                    <a:pt x="2368" y="823"/>
                  </a:lnTo>
                  <a:lnTo>
                    <a:pt x="2367" y="819"/>
                  </a:lnTo>
                  <a:lnTo>
                    <a:pt x="2366" y="814"/>
                  </a:lnTo>
                  <a:lnTo>
                    <a:pt x="2363" y="811"/>
                  </a:lnTo>
                  <a:lnTo>
                    <a:pt x="2360" y="809"/>
                  </a:lnTo>
                  <a:lnTo>
                    <a:pt x="2356" y="806"/>
                  </a:lnTo>
                  <a:lnTo>
                    <a:pt x="2351" y="805"/>
                  </a:lnTo>
                  <a:lnTo>
                    <a:pt x="2346" y="805"/>
                  </a:lnTo>
                  <a:lnTo>
                    <a:pt x="2256" y="805"/>
                  </a:lnTo>
                  <a:lnTo>
                    <a:pt x="2250" y="805"/>
                  </a:lnTo>
                  <a:lnTo>
                    <a:pt x="2245" y="806"/>
                  </a:lnTo>
                  <a:lnTo>
                    <a:pt x="2242" y="809"/>
                  </a:lnTo>
                  <a:lnTo>
                    <a:pt x="2238" y="811"/>
                  </a:lnTo>
                  <a:lnTo>
                    <a:pt x="2236" y="814"/>
                  </a:lnTo>
                  <a:lnTo>
                    <a:pt x="2234" y="819"/>
                  </a:lnTo>
                  <a:lnTo>
                    <a:pt x="2233" y="823"/>
                  </a:lnTo>
                  <a:lnTo>
                    <a:pt x="2233" y="828"/>
                  </a:lnTo>
                  <a:lnTo>
                    <a:pt x="2233" y="1364"/>
                  </a:lnTo>
                  <a:lnTo>
                    <a:pt x="2233" y="1372"/>
                  </a:lnTo>
                  <a:lnTo>
                    <a:pt x="2235" y="1380"/>
                  </a:lnTo>
                  <a:lnTo>
                    <a:pt x="2238" y="1387"/>
                  </a:lnTo>
                  <a:lnTo>
                    <a:pt x="2244" y="1393"/>
                  </a:lnTo>
                  <a:lnTo>
                    <a:pt x="2251" y="1398"/>
                  </a:lnTo>
                  <a:lnTo>
                    <a:pt x="2258" y="1402"/>
                  </a:lnTo>
                  <a:lnTo>
                    <a:pt x="2265" y="1404"/>
                  </a:lnTo>
                  <a:lnTo>
                    <a:pt x="2274" y="1404"/>
                  </a:lnTo>
                  <a:lnTo>
                    <a:pt x="2359" y="1404"/>
                  </a:lnTo>
                  <a:lnTo>
                    <a:pt x="2375" y="1404"/>
                  </a:lnTo>
                  <a:lnTo>
                    <a:pt x="2390" y="1401"/>
                  </a:lnTo>
                  <a:lnTo>
                    <a:pt x="2395" y="1399"/>
                  </a:lnTo>
                  <a:lnTo>
                    <a:pt x="2398" y="1397"/>
                  </a:lnTo>
                  <a:lnTo>
                    <a:pt x="2402" y="1395"/>
                  </a:lnTo>
                  <a:lnTo>
                    <a:pt x="2405" y="1391"/>
                  </a:lnTo>
                  <a:lnTo>
                    <a:pt x="2412" y="1382"/>
                  </a:lnTo>
                  <a:lnTo>
                    <a:pt x="2419" y="1371"/>
                  </a:lnTo>
                  <a:lnTo>
                    <a:pt x="2586" y="1007"/>
                  </a:lnTo>
                  <a:lnTo>
                    <a:pt x="2588" y="1007"/>
                  </a:lnTo>
                  <a:lnTo>
                    <a:pt x="2588" y="1380"/>
                  </a:lnTo>
                  <a:lnTo>
                    <a:pt x="2588" y="1386"/>
                  </a:lnTo>
                  <a:lnTo>
                    <a:pt x="2591" y="1389"/>
                  </a:lnTo>
                  <a:lnTo>
                    <a:pt x="2592" y="1394"/>
                  </a:lnTo>
                  <a:lnTo>
                    <a:pt x="2595" y="1397"/>
                  </a:lnTo>
                  <a:lnTo>
                    <a:pt x="2599" y="1401"/>
                  </a:lnTo>
                  <a:lnTo>
                    <a:pt x="2603" y="1403"/>
                  </a:lnTo>
                  <a:lnTo>
                    <a:pt x="2608" y="1404"/>
                  </a:lnTo>
                  <a:lnTo>
                    <a:pt x="2612" y="1404"/>
                  </a:lnTo>
                  <a:lnTo>
                    <a:pt x="2701" y="1404"/>
                  </a:lnTo>
                  <a:lnTo>
                    <a:pt x="2706" y="1404"/>
                  </a:lnTo>
                  <a:lnTo>
                    <a:pt x="2710" y="1403"/>
                  </a:lnTo>
                  <a:lnTo>
                    <a:pt x="2715" y="1401"/>
                  </a:lnTo>
                  <a:lnTo>
                    <a:pt x="2718" y="1397"/>
                  </a:lnTo>
                  <a:lnTo>
                    <a:pt x="2722" y="1394"/>
                  </a:lnTo>
                  <a:lnTo>
                    <a:pt x="2724" y="1389"/>
                  </a:lnTo>
                  <a:lnTo>
                    <a:pt x="2725" y="1385"/>
                  </a:lnTo>
                  <a:lnTo>
                    <a:pt x="2726" y="1380"/>
                  </a:lnTo>
                  <a:lnTo>
                    <a:pt x="2726" y="845"/>
                  </a:lnTo>
                  <a:lnTo>
                    <a:pt x="2725" y="837"/>
                  </a:lnTo>
                  <a:lnTo>
                    <a:pt x="2723" y="829"/>
                  </a:lnTo>
                  <a:lnTo>
                    <a:pt x="2720" y="822"/>
                  </a:lnTo>
                  <a:lnTo>
                    <a:pt x="2714" y="817"/>
                  </a:lnTo>
                  <a:close/>
                  <a:moveTo>
                    <a:pt x="3916" y="817"/>
                  </a:moveTo>
                  <a:lnTo>
                    <a:pt x="3909" y="812"/>
                  </a:lnTo>
                  <a:lnTo>
                    <a:pt x="3902" y="807"/>
                  </a:lnTo>
                  <a:lnTo>
                    <a:pt x="3894" y="806"/>
                  </a:lnTo>
                  <a:lnTo>
                    <a:pt x="3886" y="805"/>
                  </a:lnTo>
                  <a:lnTo>
                    <a:pt x="3794" y="805"/>
                  </a:lnTo>
                  <a:lnTo>
                    <a:pt x="3787" y="805"/>
                  </a:lnTo>
                  <a:lnTo>
                    <a:pt x="3780" y="806"/>
                  </a:lnTo>
                  <a:lnTo>
                    <a:pt x="3774" y="809"/>
                  </a:lnTo>
                  <a:lnTo>
                    <a:pt x="3769" y="811"/>
                  </a:lnTo>
                  <a:lnTo>
                    <a:pt x="3764" y="814"/>
                  </a:lnTo>
                  <a:lnTo>
                    <a:pt x="3758" y="820"/>
                  </a:lnTo>
                  <a:lnTo>
                    <a:pt x="3755" y="827"/>
                  </a:lnTo>
                  <a:lnTo>
                    <a:pt x="3750" y="836"/>
                  </a:lnTo>
                  <a:lnTo>
                    <a:pt x="3572" y="1221"/>
                  </a:lnTo>
                  <a:lnTo>
                    <a:pt x="3571" y="1221"/>
                  </a:lnTo>
                  <a:lnTo>
                    <a:pt x="3571" y="828"/>
                  </a:lnTo>
                  <a:lnTo>
                    <a:pt x="3570" y="823"/>
                  </a:lnTo>
                  <a:lnTo>
                    <a:pt x="3569" y="819"/>
                  </a:lnTo>
                  <a:lnTo>
                    <a:pt x="3568" y="814"/>
                  </a:lnTo>
                  <a:lnTo>
                    <a:pt x="3564" y="811"/>
                  </a:lnTo>
                  <a:lnTo>
                    <a:pt x="3562" y="809"/>
                  </a:lnTo>
                  <a:lnTo>
                    <a:pt x="3558" y="806"/>
                  </a:lnTo>
                  <a:lnTo>
                    <a:pt x="3553" y="805"/>
                  </a:lnTo>
                  <a:lnTo>
                    <a:pt x="3547" y="805"/>
                  </a:lnTo>
                  <a:lnTo>
                    <a:pt x="3457" y="805"/>
                  </a:lnTo>
                  <a:lnTo>
                    <a:pt x="3452" y="805"/>
                  </a:lnTo>
                  <a:lnTo>
                    <a:pt x="3447" y="806"/>
                  </a:lnTo>
                  <a:lnTo>
                    <a:pt x="3444" y="809"/>
                  </a:lnTo>
                  <a:lnTo>
                    <a:pt x="3440" y="811"/>
                  </a:lnTo>
                  <a:lnTo>
                    <a:pt x="3438" y="814"/>
                  </a:lnTo>
                  <a:lnTo>
                    <a:pt x="3436" y="819"/>
                  </a:lnTo>
                  <a:lnTo>
                    <a:pt x="3434" y="823"/>
                  </a:lnTo>
                  <a:lnTo>
                    <a:pt x="3434" y="828"/>
                  </a:lnTo>
                  <a:lnTo>
                    <a:pt x="3434" y="1364"/>
                  </a:lnTo>
                  <a:lnTo>
                    <a:pt x="3434" y="1372"/>
                  </a:lnTo>
                  <a:lnTo>
                    <a:pt x="3437" y="1380"/>
                  </a:lnTo>
                  <a:lnTo>
                    <a:pt x="3441" y="1387"/>
                  </a:lnTo>
                  <a:lnTo>
                    <a:pt x="3446" y="1393"/>
                  </a:lnTo>
                  <a:lnTo>
                    <a:pt x="3453" y="1398"/>
                  </a:lnTo>
                  <a:lnTo>
                    <a:pt x="3460" y="1402"/>
                  </a:lnTo>
                  <a:lnTo>
                    <a:pt x="3466" y="1404"/>
                  </a:lnTo>
                  <a:lnTo>
                    <a:pt x="3475" y="1404"/>
                  </a:lnTo>
                  <a:lnTo>
                    <a:pt x="3561" y="1404"/>
                  </a:lnTo>
                  <a:lnTo>
                    <a:pt x="3577" y="1404"/>
                  </a:lnTo>
                  <a:lnTo>
                    <a:pt x="3592" y="1401"/>
                  </a:lnTo>
                  <a:lnTo>
                    <a:pt x="3596" y="1399"/>
                  </a:lnTo>
                  <a:lnTo>
                    <a:pt x="3600" y="1397"/>
                  </a:lnTo>
                  <a:lnTo>
                    <a:pt x="3603" y="1395"/>
                  </a:lnTo>
                  <a:lnTo>
                    <a:pt x="3607" y="1391"/>
                  </a:lnTo>
                  <a:lnTo>
                    <a:pt x="3613" y="1382"/>
                  </a:lnTo>
                  <a:lnTo>
                    <a:pt x="3620" y="1371"/>
                  </a:lnTo>
                  <a:lnTo>
                    <a:pt x="3788" y="1007"/>
                  </a:lnTo>
                  <a:lnTo>
                    <a:pt x="3790" y="1007"/>
                  </a:lnTo>
                  <a:lnTo>
                    <a:pt x="3790" y="1380"/>
                  </a:lnTo>
                  <a:lnTo>
                    <a:pt x="3790" y="1386"/>
                  </a:lnTo>
                  <a:lnTo>
                    <a:pt x="3792" y="1389"/>
                  </a:lnTo>
                  <a:lnTo>
                    <a:pt x="3794" y="1394"/>
                  </a:lnTo>
                  <a:lnTo>
                    <a:pt x="3797" y="1397"/>
                  </a:lnTo>
                  <a:lnTo>
                    <a:pt x="3800" y="1401"/>
                  </a:lnTo>
                  <a:lnTo>
                    <a:pt x="3805" y="1403"/>
                  </a:lnTo>
                  <a:lnTo>
                    <a:pt x="3810" y="1404"/>
                  </a:lnTo>
                  <a:lnTo>
                    <a:pt x="3814" y="1404"/>
                  </a:lnTo>
                  <a:lnTo>
                    <a:pt x="3903" y="1404"/>
                  </a:lnTo>
                  <a:lnTo>
                    <a:pt x="3908" y="1404"/>
                  </a:lnTo>
                  <a:lnTo>
                    <a:pt x="3912" y="1403"/>
                  </a:lnTo>
                  <a:lnTo>
                    <a:pt x="3917" y="1401"/>
                  </a:lnTo>
                  <a:lnTo>
                    <a:pt x="3920" y="1397"/>
                  </a:lnTo>
                  <a:lnTo>
                    <a:pt x="3924" y="1394"/>
                  </a:lnTo>
                  <a:lnTo>
                    <a:pt x="3926" y="1389"/>
                  </a:lnTo>
                  <a:lnTo>
                    <a:pt x="3927" y="1385"/>
                  </a:lnTo>
                  <a:lnTo>
                    <a:pt x="3928" y="1380"/>
                  </a:lnTo>
                  <a:lnTo>
                    <a:pt x="3928" y="845"/>
                  </a:lnTo>
                  <a:lnTo>
                    <a:pt x="3927" y="837"/>
                  </a:lnTo>
                  <a:lnTo>
                    <a:pt x="3925" y="829"/>
                  </a:lnTo>
                  <a:lnTo>
                    <a:pt x="3920" y="822"/>
                  </a:lnTo>
                  <a:lnTo>
                    <a:pt x="3916" y="817"/>
                  </a:lnTo>
                  <a:close/>
                  <a:moveTo>
                    <a:pt x="3112" y="1096"/>
                  </a:moveTo>
                  <a:lnTo>
                    <a:pt x="3327" y="840"/>
                  </a:lnTo>
                  <a:lnTo>
                    <a:pt x="3331" y="836"/>
                  </a:lnTo>
                  <a:lnTo>
                    <a:pt x="3333" y="831"/>
                  </a:lnTo>
                  <a:lnTo>
                    <a:pt x="3334" y="827"/>
                  </a:lnTo>
                  <a:lnTo>
                    <a:pt x="3334" y="823"/>
                  </a:lnTo>
                  <a:lnTo>
                    <a:pt x="3334" y="819"/>
                  </a:lnTo>
                  <a:lnTo>
                    <a:pt x="3331" y="813"/>
                  </a:lnTo>
                  <a:lnTo>
                    <a:pt x="3327" y="810"/>
                  </a:lnTo>
                  <a:lnTo>
                    <a:pt x="3324" y="807"/>
                  </a:lnTo>
                  <a:lnTo>
                    <a:pt x="3318" y="806"/>
                  </a:lnTo>
                  <a:lnTo>
                    <a:pt x="3311" y="806"/>
                  </a:lnTo>
                  <a:lnTo>
                    <a:pt x="3213" y="806"/>
                  </a:lnTo>
                  <a:lnTo>
                    <a:pt x="3206" y="806"/>
                  </a:lnTo>
                  <a:lnTo>
                    <a:pt x="3201" y="807"/>
                  </a:lnTo>
                  <a:lnTo>
                    <a:pt x="3197" y="809"/>
                  </a:lnTo>
                  <a:lnTo>
                    <a:pt x="3194" y="810"/>
                  </a:lnTo>
                  <a:lnTo>
                    <a:pt x="3190" y="812"/>
                  </a:lnTo>
                  <a:lnTo>
                    <a:pt x="3188" y="815"/>
                  </a:lnTo>
                  <a:lnTo>
                    <a:pt x="2994" y="1056"/>
                  </a:lnTo>
                  <a:lnTo>
                    <a:pt x="2993" y="1056"/>
                  </a:lnTo>
                  <a:lnTo>
                    <a:pt x="2993" y="829"/>
                  </a:lnTo>
                  <a:lnTo>
                    <a:pt x="2992" y="824"/>
                  </a:lnTo>
                  <a:lnTo>
                    <a:pt x="2991" y="820"/>
                  </a:lnTo>
                  <a:lnTo>
                    <a:pt x="2989" y="815"/>
                  </a:lnTo>
                  <a:lnTo>
                    <a:pt x="2985" y="813"/>
                  </a:lnTo>
                  <a:lnTo>
                    <a:pt x="2982" y="810"/>
                  </a:lnTo>
                  <a:lnTo>
                    <a:pt x="2977" y="807"/>
                  </a:lnTo>
                  <a:lnTo>
                    <a:pt x="2973" y="806"/>
                  </a:lnTo>
                  <a:lnTo>
                    <a:pt x="2968" y="806"/>
                  </a:lnTo>
                  <a:lnTo>
                    <a:pt x="2884" y="806"/>
                  </a:lnTo>
                  <a:lnTo>
                    <a:pt x="2879" y="806"/>
                  </a:lnTo>
                  <a:lnTo>
                    <a:pt x="2875" y="807"/>
                  </a:lnTo>
                  <a:lnTo>
                    <a:pt x="2871" y="810"/>
                  </a:lnTo>
                  <a:lnTo>
                    <a:pt x="2868" y="812"/>
                  </a:lnTo>
                  <a:lnTo>
                    <a:pt x="2864" y="814"/>
                  </a:lnTo>
                  <a:lnTo>
                    <a:pt x="2862" y="818"/>
                  </a:lnTo>
                  <a:lnTo>
                    <a:pt x="2860" y="823"/>
                  </a:lnTo>
                  <a:lnTo>
                    <a:pt x="2860" y="829"/>
                  </a:lnTo>
                  <a:lnTo>
                    <a:pt x="2860" y="1380"/>
                  </a:lnTo>
                  <a:lnTo>
                    <a:pt x="2860" y="1386"/>
                  </a:lnTo>
                  <a:lnTo>
                    <a:pt x="2861" y="1390"/>
                  </a:lnTo>
                  <a:lnTo>
                    <a:pt x="2863" y="1394"/>
                  </a:lnTo>
                  <a:lnTo>
                    <a:pt x="2867" y="1397"/>
                  </a:lnTo>
                  <a:lnTo>
                    <a:pt x="2870" y="1401"/>
                  </a:lnTo>
                  <a:lnTo>
                    <a:pt x="2875" y="1403"/>
                  </a:lnTo>
                  <a:lnTo>
                    <a:pt x="2879" y="1404"/>
                  </a:lnTo>
                  <a:lnTo>
                    <a:pt x="2884" y="1404"/>
                  </a:lnTo>
                  <a:lnTo>
                    <a:pt x="2968" y="1404"/>
                  </a:lnTo>
                  <a:lnTo>
                    <a:pt x="2974" y="1404"/>
                  </a:lnTo>
                  <a:lnTo>
                    <a:pt x="2977" y="1403"/>
                  </a:lnTo>
                  <a:lnTo>
                    <a:pt x="2982" y="1401"/>
                  </a:lnTo>
                  <a:lnTo>
                    <a:pt x="2985" y="1397"/>
                  </a:lnTo>
                  <a:lnTo>
                    <a:pt x="2989" y="1394"/>
                  </a:lnTo>
                  <a:lnTo>
                    <a:pt x="2991" y="1390"/>
                  </a:lnTo>
                  <a:lnTo>
                    <a:pt x="2992" y="1386"/>
                  </a:lnTo>
                  <a:lnTo>
                    <a:pt x="2993" y="1380"/>
                  </a:lnTo>
                  <a:lnTo>
                    <a:pt x="2993" y="1146"/>
                  </a:lnTo>
                  <a:lnTo>
                    <a:pt x="2996" y="1146"/>
                  </a:lnTo>
                  <a:lnTo>
                    <a:pt x="3175" y="1393"/>
                  </a:lnTo>
                  <a:lnTo>
                    <a:pt x="3179" y="1398"/>
                  </a:lnTo>
                  <a:lnTo>
                    <a:pt x="3185" y="1402"/>
                  </a:lnTo>
                  <a:lnTo>
                    <a:pt x="3192" y="1404"/>
                  </a:lnTo>
                  <a:lnTo>
                    <a:pt x="3200" y="1404"/>
                  </a:lnTo>
                  <a:lnTo>
                    <a:pt x="3315" y="1404"/>
                  </a:lnTo>
                  <a:lnTo>
                    <a:pt x="3320" y="1404"/>
                  </a:lnTo>
                  <a:lnTo>
                    <a:pt x="3325" y="1403"/>
                  </a:lnTo>
                  <a:lnTo>
                    <a:pt x="3328" y="1401"/>
                  </a:lnTo>
                  <a:lnTo>
                    <a:pt x="3331" y="1398"/>
                  </a:lnTo>
                  <a:lnTo>
                    <a:pt x="3334" y="1394"/>
                  </a:lnTo>
                  <a:lnTo>
                    <a:pt x="3334" y="1390"/>
                  </a:lnTo>
                  <a:lnTo>
                    <a:pt x="3334" y="1387"/>
                  </a:lnTo>
                  <a:lnTo>
                    <a:pt x="3333" y="1383"/>
                  </a:lnTo>
                  <a:lnTo>
                    <a:pt x="3331" y="1380"/>
                  </a:lnTo>
                  <a:lnTo>
                    <a:pt x="3328" y="1376"/>
                  </a:lnTo>
                  <a:lnTo>
                    <a:pt x="3112" y="1096"/>
                  </a:lnTo>
                  <a:close/>
                  <a:moveTo>
                    <a:pt x="2146" y="812"/>
                  </a:moveTo>
                  <a:lnTo>
                    <a:pt x="2143" y="809"/>
                  </a:lnTo>
                  <a:lnTo>
                    <a:pt x="2138" y="807"/>
                  </a:lnTo>
                  <a:lnTo>
                    <a:pt x="2134" y="805"/>
                  </a:lnTo>
                  <a:lnTo>
                    <a:pt x="2129" y="805"/>
                  </a:lnTo>
                  <a:lnTo>
                    <a:pt x="1712" y="805"/>
                  </a:lnTo>
                  <a:lnTo>
                    <a:pt x="1707" y="805"/>
                  </a:lnTo>
                  <a:lnTo>
                    <a:pt x="1703" y="806"/>
                  </a:lnTo>
                  <a:lnTo>
                    <a:pt x="1698" y="809"/>
                  </a:lnTo>
                  <a:lnTo>
                    <a:pt x="1696" y="812"/>
                  </a:lnTo>
                  <a:lnTo>
                    <a:pt x="1692" y="815"/>
                  </a:lnTo>
                  <a:lnTo>
                    <a:pt x="1690" y="819"/>
                  </a:lnTo>
                  <a:lnTo>
                    <a:pt x="1688" y="823"/>
                  </a:lnTo>
                  <a:lnTo>
                    <a:pt x="1688" y="828"/>
                  </a:lnTo>
                  <a:lnTo>
                    <a:pt x="1688" y="894"/>
                  </a:lnTo>
                  <a:lnTo>
                    <a:pt x="1688" y="898"/>
                  </a:lnTo>
                  <a:lnTo>
                    <a:pt x="1690" y="903"/>
                  </a:lnTo>
                  <a:lnTo>
                    <a:pt x="1692" y="906"/>
                  </a:lnTo>
                  <a:lnTo>
                    <a:pt x="1696" y="910"/>
                  </a:lnTo>
                  <a:lnTo>
                    <a:pt x="1699" y="913"/>
                  </a:lnTo>
                  <a:lnTo>
                    <a:pt x="1704" y="914"/>
                  </a:lnTo>
                  <a:lnTo>
                    <a:pt x="1708" y="915"/>
                  </a:lnTo>
                  <a:lnTo>
                    <a:pt x="1712" y="917"/>
                  </a:lnTo>
                  <a:lnTo>
                    <a:pt x="1854" y="917"/>
                  </a:lnTo>
                  <a:lnTo>
                    <a:pt x="1854" y="1380"/>
                  </a:lnTo>
                  <a:lnTo>
                    <a:pt x="1854" y="1386"/>
                  </a:lnTo>
                  <a:lnTo>
                    <a:pt x="1855" y="1390"/>
                  </a:lnTo>
                  <a:lnTo>
                    <a:pt x="1858" y="1394"/>
                  </a:lnTo>
                  <a:lnTo>
                    <a:pt x="1861" y="1397"/>
                  </a:lnTo>
                  <a:lnTo>
                    <a:pt x="1865" y="1401"/>
                  </a:lnTo>
                  <a:lnTo>
                    <a:pt x="1869" y="1403"/>
                  </a:lnTo>
                  <a:lnTo>
                    <a:pt x="1874" y="1404"/>
                  </a:lnTo>
                  <a:lnTo>
                    <a:pt x="1878" y="1404"/>
                  </a:lnTo>
                  <a:lnTo>
                    <a:pt x="1963" y="1404"/>
                  </a:lnTo>
                  <a:lnTo>
                    <a:pt x="1968" y="1404"/>
                  </a:lnTo>
                  <a:lnTo>
                    <a:pt x="1973" y="1403"/>
                  </a:lnTo>
                  <a:lnTo>
                    <a:pt x="1976" y="1401"/>
                  </a:lnTo>
                  <a:lnTo>
                    <a:pt x="1980" y="1397"/>
                  </a:lnTo>
                  <a:lnTo>
                    <a:pt x="1983" y="1394"/>
                  </a:lnTo>
                  <a:lnTo>
                    <a:pt x="1985" y="1390"/>
                  </a:lnTo>
                  <a:lnTo>
                    <a:pt x="1986" y="1386"/>
                  </a:lnTo>
                  <a:lnTo>
                    <a:pt x="1988" y="1380"/>
                  </a:lnTo>
                  <a:lnTo>
                    <a:pt x="1988" y="917"/>
                  </a:lnTo>
                  <a:lnTo>
                    <a:pt x="2129" y="917"/>
                  </a:lnTo>
                  <a:lnTo>
                    <a:pt x="2132" y="915"/>
                  </a:lnTo>
                  <a:lnTo>
                    <a:pt x="2137" y="914"/>
                  </a:lnTo>
                  <a:lnTo>
                    <a:pt x="2140" y="913"/>
                  </a:lnTo>
                  <a:lnTo>
                    <a:pt x="2145" y="911"/>
                  </a:lnTo>
                  <a:lnTo>
                    <a:pt x="2148" y="907"/>
                  </a:lnTo>
                  <a:lnTo>
                    <a:pt x="2151" y="903"/>
                  </a:lnTo>
                  <a:lnTo>
                    <a:pt x="2153" y="898"/>
                  </a:lnTo>
                  <a:lnTo>
                    <a:pt x="2153" y="894"/>
                  </a:lnTo>
                  <a:lnTo>
                    <a:pt x="2153" y="828"/>
                  </a:lnTo>
                  <a:lnTo>
                    <a:pt x="2153" y="823"/>
                  </a:lnTo>
                  <a:lnTo>
                    <a:pt x="2152" y="819"/>
                  </a:lnTo>
                  <a:lnTo>
                    <a:pt x="2148" y="815"/>
                  </a:lnTo>
                  <a:lnTo>
                    <a:pt x="2146" y="812"/>
                  </a:lnTo>
                  <a:close/>
                  <a:moveTo>
                    <a:pt x="1047" y="902"/>
                  </a:moveTo>
                  <a:lnTo>
                    <a:pt x="1041" y="893"/>
                  </a:lnTo>
                  <a:lnTo>
                    <a:pt x="1036" y="884"/>
                  </a:lnTo>
                  <a:lnTo>
                    <a:pt x="1029" y="876"/>
                  </a:lnTo>
                  <a:lnTo>
                    <a:pt x="1022" y="868"/>
                  </a:lnTo>
                  <a:lnTo>
                    <a:pt x="1015" y="860"/>
                  </a:lnTo>
                  <a:lnTo>
                    <a:pt x="1007" y="853"/>
                  </a:lnTo>
                  <a:lnTo>
                    <a:pt x="999" y="846"/>
                  </a:lnTo>
                  <a:lnTo>
                    <a:pt x="991" y="840"/>
                  </a:lnTo>
                  <a:lnTo>
                    <a:pt x="973" y="830"/>
                  </a:lnTo>
                  <a:lnTo>
                    <a:pt x="954" y="821"/>
                  </a:lnTo>
                  <a:lnTo>
                    <a:pt x="932" y="813"/>
                  </a:lnTo>
                  <a:lnTo>
                    <a:pt x="910" y="807"/>
                  </a:lnTo>
                  <a:lnTo>
                    <a:pt x="886" y="804"/>
                  </a:lnTo>
                  <a:lnTo>
                    <a:pt x="863" y="801"/>
                  </a:lnTo>
                  <a:lnTo>
                    <a:pt x="840" y="800"/>
                  </a:lnTo>
                  <a:lnTo>
                    <a:pt x="814" y="798"/>
                  </a:lnTo>
                  <a:lnTo>
                    <a:pt x="789" y="798"/>
                  </a:lnTo>
                  <a:lnTo>
                    <a:pt x="765" y="800"/>
                  </a:lnTo>
                  <a:lnTo>
                    <a:pt x="744" y="801"/>
                  </a:lnTo>
                  <a:lnTo>
                    <a:pt x="723" y="802"/>
                  </a:lnTo>
                  <a:lnTo>
                    <a:pt x="700" y="803"/>
                  </a:lnTo>
                  <a:lnTo>
                    <a:pt x="680" y="805"/>
                  </a:lnTo>
                  <a:lnTo>
                    <a:pt x="663" y="807"/>
                  </a:lnTo>
                  <a:lnTo>
                    <a:pt x="647" y="809"/>
                  </a:lnTo>
                  <a:lnTo>
                    <a:pt x="639" y="811"/>
                  </a:lnTo>
                  <a:lnTo>
                    <a:pt x="633" y="812"/>
                  </a:lnTo>
                  <a:lnTo>
                    <a:pt x="627" y="814"/>
                  </a:lnTo>
                  <a:lnTo>
                    <a:pt x="623" y="818"/>
                  </a:lnTo>
                  <a:lnTo>
                    <a:pt x="618" y="822"/>
                  </a:lnTo>
                  <a:lnTo>
                    <a:pt x="615" y="827"/>
                  </a:lnTo>
                  <a:lnTo>
                    <a:pt x="614" y="834"/>
                  </a:lnTo>
                  <a:lnTo>
                    <a:pt x="613" y="842"/>
                  </a:lnTo>
                  <a:lnTo>
                    <a:pt x="613" y="1380"/>
                  </a:lnTo>
                  <a:lnTo>
                    <a:pt x="613" y="1386"/>
                  </a:lnTo>
                  <a:lnTo>
                    <a:pt x="615" y="1389"/>
                  </a:lnTo>
                  <a:lnTo>
                    <a:pt x="617" y="1394"/>
                  </a:lnTo>
                  <a:lnTo>
                    <a:pt x="619" y="1397"/>
                  </a:lnTo>
                  <a:lnTo>
                    <a:pt x="624" y="1401"/>
                  </a:lnTo>
                  <a:lnTo>
                    <a:pt x="627" y="1403"/>
                  </a:lnTo>
                  <a:lnTo>
                    <a:pt x="632" y="1404"/>
                  </a:lnTo>
                  <a:lnTo>
                    <a:pt x="637" y="1404"/>
                  </a:lnTo>
                  <a:lnTo>
                    <a:pt x="722" y="1404"/>
                  </a:lnTo>
                  <a:lnTo>
                    <a:pt x="728" y="1404"/>
                  </a:lnTo>
                  <a:lnTo>
                    <a:pt x="731" y="1403"/>
                  </a:lnTo>
                  <a:lnTo>
                    <a:pt x="736" y="1401"/>
                  </a:lnTo>
                  <a:lnTo>
                    <a:pt x="739" y="1397"/>
                  </a:lnTo>
                  <a:lnTo>
                    <a:pt x="743" y="1394"/>
                  </a:lnTo>
                  <a:lnTo>
                    <a:pt x="744" y="1390"/>
                  </a:lnTo>
                  <a:lnTo>
                    <a:pt x="746" y="1386"/>
                  </a:lnTo>
                  <a:lnTo>
                    <a:pt x="746" y="1380"/>
                  </a:lnTo>
                  <a:lnTo>
                    <a:pt x="746" y="1202"/>
                  </a:lnTo>
                  <a:lnTo>
                    <a:pt x="756" y="1203"/>
                  </a:lnTo>
                  <a:lnTo>
                    <a:pt x="778" y="1203"/>
                  </a:lnTo>
                  <a:lnTo>
                    <a:pt x="801" y="1204"/>
                  </a:lnTo>
                  <a:lnTo>
                    <a:pt x="814" y="1205"/>
                  </a:lnTo>
                  <a:lnTo>
                    <a:pt x="838" y="1204"/>
                  </a:lnTo>
                  <a:lnTo>
                    <a:pt x="862" y="1203"/>
                  </a:lnTo>
                  <a:lnTo>
                    <a:pt x="886" y="1199"/>
                  </a:lnTo>
                  <a:lnTo>
                    <a:pt x="910" y="1195"/>
                  </a:lnTo>
                  <a:lnTo>
                    <a:pt x="932" y="1189"/>
                  </a:lnTo>
                  <a:lnTo>
                    <a:pt x="952" y="1182"/>
                  </a:lnTo>
                  <a:lnTo>
                    <a:pt x="973" y="1173"/>
                  </a:lnTo>
                  <a:lnTo>
                    <a:pt x="990" y="1162"/>
                  </a:lnTo>
                  <a:lnTo>
                    <a:pt x="999" y="1156"/>
                  </a:lnTo>
                  <a:lnTo>
                    <a:pt x="1007" y="1149"/>
                  </a:lnTo>
                  <a:lnTo>
                    <a:pt x="1015" y="1143"/>
                  </a:lnTo>
                  <a:lnTo>
                    <a:pt x="1022" y="1135"/>
                  </a:lnTo>
                  <a:lnTo>
                    <a:pt x="1029" y="1127"/>
                  </a:lnTo>
                  <a:lnTo>
                    <a:pt x="1036" y="1118"/>
                  </a:lnTo>
                  <a:lnTo>
                    <a:pt x="1041" y="1109"/>
                  </a:lnTo>
                  <a:lnTo>
                    <a:pt x="1047" y="1099"/>
                  </a:lnTo>
                  <a:lnTo>
                    <a:pt x="1053" y="1088"/>
                  </a:lnTo>
                  <a:lnTo>
                    <a:pt x="1057" y="1077"/>
                  </a:lnTo>
                  <a:lnTo>
                    <a:pt x="1061" y="1064"/>
                  </a:lnTo>
                  <a:lnTo>
                    <a:pt x="1064" y="1052"/>
                  </a:lnTo>
                  <a:lnTo>
                    <a:pt x="1066" y="1039"/>
                  </a:lnTo>
                  <a:lnTo>
                    <a:pt x="1069" y="1027"/>
                  </a:lnTo>
                  <a:lnTo>
                    <a:pt x="1070" y="1013"/>
                  </a:lnTo>
                  <a:lnTo>
                    <a:pt x="1070" y="1001"/>
                  </a:lnTo>
                  <a:lnTo>
                    <a:pt x="1070" y="987"/>
                  </a:lnTo>
                  <a:lnTo>
                    <a:pt x="1069" y="974"/>
                  </a:lnTo>
                  <a:lnTo>
                    <a:pt x="1066" y="961"/>
                  </a:lnTo>
                  <a:lnTo>
                    <a:pt x="1064" y="948"/>
                  </a:lnTo>
                  <a:lnTo>
                    <a:pt x="1061" y="937"/>
                  </a:lnTo>
                  <a:lnTo>
                    <a:pt x="1057" y="924"/>
                  </a:lnTo>
                  <a:lnTo>
                    <a:pt x="1053" y="913"/>
                  </a:lnTo>
                  <a:lnTo>
                    <a:pt x="1047" y="902"/>
                  </a:lnTo>
                  <a:close/>
                  <a:moveTo>
                    <a:pt x="746" y="911"/>
                  </a:moveTo>
                  <a:lnTo>
                    <a:pt x="746" y="911"/>
                  </a:lnTo>
                  <a:lnTo>
                    <a:pt x="756" y="911"/>
                  </a:lnTo>
                  <a:lnTo>
                    <a:pt x="779" y="910"/>
                  </a:lnTo>
                  <a:lnTo>
                    <a:pt x="802" y="909"/>
                  </a:lnTo>
                  <a:lnTo>
                    <a:pt x="814" y="909"/>
                  </a:lnTo>
                  <a:lnTo>
                    <a:pt x="829" y="909"/>
                  </a:lnTo>
                  <a:lnTo>
                    <a:pt x="843" y="910"/>
                  </a:lnTo>
                  <a:lnTo>
                    <a:pt x="857" y="911"/>
                  </a:lnTo>
                  <a:lnTo>
                    <a:pt x="868" y="913"/>
                  </a:lnTo>
                  <a:lnTo>
                    <a:pt x="879" y="917"/>
                  </a:lnTo>
                  <a:lnTo>
                    <a:pt x="889" y="920"/>
                  </a:lnTo>
                  <a:lnTo>
                    <a:pt x="898" y="924"/>
                  </a:lnTo>
                  <a:lnTo>
                    <a:pt x="906" y="929"/>
                  </a:lnTo>
                  <a:lnTo>
                    <a:pt x="914" y="936"/>
                  </a:lnTo>
                  <a:lnTo>
                    <a:pt x="920" y="943"/>
                  </a:lnTo>
                  <a:lnTo>
                    <a:pt x="926" y="951"/>
                  </a:lnTo>
                  <a:lnTo>
                    <a:pt x="931" y="960"/>
                  </a:lnTo>
                  <a:lnTo>
                    <a:pt x="934" y="970"/>
                  </a:lnTo>
                  <a:lnTo>
                    <a:pt x="936" y="979"/>
                  </a:lnTo>
                  <a:lnTo>
                    <a:pt x="938" y="989"/>
                  </a:lnTo>
                  <a:lnTo>
                    <a:pt x="939" y="1001"/>
                  </a:lnTo>
                  <a:lnTo>
                    <a:pt x="938" y="1011"/>
                  </a:lnTo>
                  <a:lnTo>
                    <a:pt x="936" y="1021"/>
                  </a:lnTo>
                  <a:lnTo>
                    <a:pt x="934" y="1031"/>
                  </a:lnTo>
                  <a:lnTo>
                    <a:pt x="931" y="1041"/>
                  </a:lnTo>
                  <a:lnTo>
                    <a:pt x="926" y="1051"/>
                  </a:lnTo>
                  <a:lnTo>
                    <a:pt x="920" y="1059"/>
                  </a:lnTo>
                  <a:lnTo>
                    <a:pt x="915" y="1066"/>
                  </a:lnTo>
                  <a:lnTo>
                    <a:pt x="908" y="1073"/>
                  </a:lnTo>
                  <a:lnTo>
                    <a:pt x="900" y="1079"/>
                  </a:lnTo>
                  <a:lnTo>
                    <a:pt x="892" y="1084"/>
                  </a:lnTo>
                  <a:lnTo>
                    <a:pt x="882" y="1087"/>
                  </a:lnTo>
                  <a:lnTo>
                    <a:pt x="871" y="1090"/>
                  </a:lnTo>
                  <a:lnTo>
                    <a:pt x="859" y="1093"/>
                  </a:lnTo>
                  <a:lnTo>
                    <a:pt x="845" y="1095"/>
                  </a:lnTo>
                  <a:lnTo>
                    <a:pt x="830" y="1096"/>
                  </a:lnTo>
                  <a:lnTo>
                    <a:pt x="814" y="1096"/>
                  </a:lnTo>
                  <a:lnTo>
                    <a:pt x="802" y="1096"/>
                  </a:lnTo>
                  <a:lnTo>
                    <a:pt x="779" y="1095"/>
                  </a:lnTo>
                  <a:lnTo>
                    <a:pt x="756" y="1094"/>
                  </a:lnTo>
                  <a:lnTo>
                    <a:pt x="746" y="1094"/>
                  </a:lnTo>
                  <a:lnTo>
                    <a:pt x="746" y="911"/>
                  </a:lnTo>
                  <a:close/>
                  <a:moveTo>
                    <a:pt x="333" y="1154"/>
                  </a:moveTo>
                  <a:lnTo>
                    <a:pt x="333" y="1154"/>
                  </a:lnTo>
                  <a:lnTo>
                    <a:pt x="202" y="1154"/>
                  </a:lnTo>
                  <a:lnTo>
                    <a:pt x="261" y="918"/>
                  </a:lnTo>
                  <a:lnTo>
                    <a:pt x="261" y="915"/>
                  </a:lnTo>
                  <a:lnTo>
                    <a:pt x="263" y="913"/>
                  </a:lnTo>
                  <a:lnTo>
                    <a:pt x="264" y="911"/>
                  </a:lnTo>
                  <a:lnTo>
                    <a:pt x="267" y="910"/>
                  </a:lnTo>
                  <a:lnTo>
                    <a:pt x="271" y="911"/>
                  </a:lnTo>
                  <a:lnTo>
                    <a:pt x="272" y="912"/>
                  </a:lnTo>
                  <a:lnTo>
                    <a:pt x="273" y="914"/>
                  </a:lnTo>
                  <a:lnTo>
                    <a:pt x="274" y="918"/>
                  </a:lnTo>
                  <a:lnTo>
                    <a:pt x="333" y="1154"/>
                  </a:lnTo>
                  <a:close/>
                </a:path>
              </a:pathLst>
            </a:custGeom>
            <a:solidFill>
              <a:srgbClr val="162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sz="1350">
                <a:solidFill>
                  <a:srgbClr val="3C3C3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5414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268414"/>
            <a:ext cx="8569325" cy="158450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1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750" b="1" smtClean="0">
                <a:solidFill>
                  <a:schemeClr val="tx1"/>
                </a:solidFill>
              </a:rPr>
              <a:pPr algn="l"/>
              <a:t>‹#›</a:t>
            </a:fld>
            <a:endParaRPr lang="ru-RU" sz="75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9" y="292493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>
                <a:latin typeface="HeliosCond" panose="02000506040000020004" pitchFamily="2" charset="0"/>
                <a:cs typeface="DIN Pro Cond" panose="020B0506020101010102" pitchFamily="34" charset="-52"/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9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750" noProof="0" dirty="0">
                <a:solidFill>
                  <a:schemeClr val="bg2"/>
                </a:solidFill>
              </a:rPr>
              <a:t>Газпром нефть</a:t>
            </a: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750" noProof="0" dirty="0">
                <a:solidFill>
                  <a:schemeClr val="bg2"/>
                </a:solidFill>
              </a:rPr>
              <a:t>Gazprom</a:t>
            </a:r>
            <a:r>
              <a:rPr lang="en-US" sz="750" baseline="0" noProof="0" dirty="0">
                <a:solidFill>
                  <a:schemeClr val="bg2"/>
                </a:solidFill>
              </a:rPr>
              <a:t> </a:t>
            </a:r>
            <a:r>
              <a:rPr lang="en-US" sz="750" baseline="0" noProof="0" dirty="0" err="1">
                <a:solidFill>
                  <a:schemeClr val="bg2"/>
                </a:solidFill>
              </a:rPr>
              <a:t>neft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763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Мультимедиа 8">
            <a:extLst>
              <a:ext uri="{FF2B5EF4-FFF2-40B4-BE49-F238E27FC236}">
                <a16:creationId xmlns:a16="http://schemas.microsoft.com/office/drawing/2014/main" id="{B5FCFF07-4E8D-4D98-AAA8-5F3C27235C91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286941" y="1112838"/>
            <a:ext cx="8560594" cy="5208587"/>
          </a:xfrm>
        </p:spPr>
        <p:txBody>
          <a:bodyPr/>
          <a:lstStyle>
            <a:lvl1pPr>
              <a:defRPr>
                <a:latin typeface="DIN Pro Cond" panose="020B0506020101010102" pitchFamily="34" charset="-52"/>
                <a:cs typeface="DIN Pro Cond" panose="020B0506020101010102" pitchFamily="34" charset="-52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9113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5"/>
            <a:ext cx="4176711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3" y="1268415"/>
            <a:ext cx="4176711" cy="5076825"/>
          </a:xfrm>
        </p:spPr>
        <p:txBody>
          <a:bodyPr/>
          <a:lstStyle>
            <a:lvl1pPr>
              <a:defRPr>
                <a:latin typeface="HeliosCond" panose="02000506040000020004" pitchFamily="2" charset="0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00231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40" y="1268415"/>
            <a:ext cx="8569324" cy="2447925"/>
          </a:xfrm>
        </p:spPr>
        <p:txBody>
          <a:bodyPr/>
          <a:lstStyle>
            <a:lvl1pPr>
              <a:defRPr>
                <a:latin typeface="HeliosCond" panose="02000506040000020004" pitchFamily="2" charset="0"/>
                <a:cs typeface="DIN Pro Cond Bold" panose="020B0806020101010102" pitchFamily="34" charset="-52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40" y="3894139"/>
            <a:ext cx="8569324" cy="2447925"/>
          </a:xfrm>
        </p:spPr>
        <p:txBody>
          <a:bodyPr/>
          <a:lstStyle>
            <a:lvl1pPr>
              <a:defRPr>
                <a:latin typeface="HeliosCond" panose="02000506040000020004" pitchFamily="2" charset="0"/>
                <a:cs typeface="DIN Pro Cond Bold" panose="020B0806020101010102" pitchFamily="34" charset="-52"/>
              </a:defRPr>
            </a:lvl1pPr>
            <a:lvl2pPr>
              <a:defRPr>
                <a:latin typeface="HeliosCond" panose="02000506040000020004" pitchFamily="2" charset="0"/>
              </a:defRPr>
            </a:lvl2pPr>
            <a:lvl3pPr>
              <a:defRPr>
                <a:latin typeface="HeliosCond" panose="02000506040000020004" pitchFamily="2" charset="0"/>
                <a:cs typeface="DIN Pro Cond" panose="020B0506020101010102" pitchFamily="34" charset="-52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8066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60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62" imgW="270" imgH="270" progId="TCLayout.ActiveDocument.1">
                  <p:embed/>
                </p:oleObj>
              </mc:Choice>
              <mc:Fallback>
                <p:oleObj name="Слайд think-cell" r:id="rId62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61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450"/>
              </a:spcBef>
            </a:pPr>
            <a:endParaRPr lang="ru-RU" sz="1800" b="0" i="0" baseline="0" dirty="0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7979" y="310146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77979" y="1268413"/>
            <a:ext cx="847868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1"/>
            <a:r>
              <a:rPr lang="ru-RU" dirty="0"/>
              <a:t>Первый уровень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/>
          <a:p>
            <a:pPr algn="l"/>
            <a:fld id="{AF528B6D-1001-487C-8FFE-85B114390330}" type="slidenum">
              <a:rPr lang="ru-RU" sz="9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9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750" noProof="0" dirty="0">
                <a:solidFill>
                  <a:schemeClr val="bg2"/>
                </a:solidFill>
              </a:rPr>
              <a:t>Газпром нефть</a:t>
            </a: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750" noProof="0" dirty="0">
                <a:solidFill>
                  <a:schemeClr val="bg2"/>
                </a:solidFill>
              </a:rPr>
              <a:t>Gazprom</a:t>
            </a:r>
            <a:r>
              <a:rPr lang="en-US" sz="750" baseline="0" noProof="0" dirty="0">
                <a:solidFill>
                  <a:schemeClr val="bg2"/>
                </a:solidFill>
              </a:rPr>
              <a:t> </a:t>
            </a:r>
            <a:r>
              <a:rPr lang="en-US" sz="750" baseline="0" noProof="0" dirty="0" err="1">
                <a:solidFill>
                  <a:schemeClr val="bg2"/>
                </a:solidFill>
              </a:rPr>
              <a:t>neft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750" dirty="0">
              <a:solidFill>
                <a:schemeClr val="bg2"/>
              </a:solidFill>
            </a:endParaRP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C3D7BA36-CC3A-43CA-8065-235BA82624E0}"/>
              </a:ext>
            </a:extLst>
          </p:cNvPr>
          <p:cNvCxnSpPr/>
          <p:nvPr userDrawn="1"/>
        </p:nvCxnSpPr>
        <p:spPr>
          <a:xfrm>
            <a:off x="287339" y="1011208"/>
            <a:ext cx="8560318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999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1" r:id="rId33"/>
    <p:sldLayoutId id="2147483752" r:id="rId34"/>
    <p:sldLayoutId id="2147483753" r:id="rId35"/>
    <p:sldLayoutId id="2147483754" r:id="rId36"/>
    <p:sldLayoutId id="2147483755" r:id="rId37"/>
    <p:sldLayoutId id="2147483756" r:id="rId38"/>
    <p:sldLayoutId id="2147483757" r:id="rId39"/>
    <p:sldLayoutId id="2147483758" r:id="rId40"/>
    <p:sldLayoutId id="2147483759" r:id="rId41"/>
    <p:sldLayoutId id="2147483760" r:id="rId42"/>
    <p:sldLayoutId id="2147483761" r:id="rId43"/>
    <p:sldLayoutId id="2147483762" r:id="rId44"/>
    <p:sldLayoutId id="2147483763" r:id="rId45"/>
    <p:sldLayoutId id="2147483764" r:id="rId46"/>
    <p:sldLayoutId id="2147483765" r:id="rId47"/>
    <p:sldLayoutId id="2147483766" r:id="rId48"/>
    <p:sldLayoutId id="2147483767" r:id="rId49"/>
    <p:sldLayoutId id="2147483768" r:id="rId50"/>
    <p:sldLayoutId id="2147483769" r:id="rId51"/>
    <p:sldLayoutId id="2147483770" r:id="rId52"/>
    <p:sldLayoutId id="2147483771" r:id="rId53"/>
    <p:sldLayoutId id="2147483772" r:id="rId54"/>
    <p:sldLayoutId id="2147483773" r:id="rId55"/>
    <p:sldLayoutId id="2147483774" r:id="rId56"/>
    <p:sldLayoutId id="2147483775" r:id="rId57"/>
  </p:sldLayoutIdLst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lang="ru-RU" sz="2100" b="1" kern="1200" baseline="0" dirty="0">
          <a:solidFill>
            <a:schemeClr val="accent1"/>
          </a:solidFill>
          <a:latin typeface="HeliosCond" panose="02000506040000020004" pitchFamily="2" charset="0"/>
          <a:ea typeface="+mj-ea"/>
          <a:cs typeface="DIN Pro Cond Bold" panose="020B0806020101010102" pitchFamily="34" charset="-52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350" b="1" kern="1200">
          <a:solidFill>
            <a:srgbClr val="706F6F"/>
          </a:solidFill>
          <a:latin typeface="+mn-lt"/>
          <a:ea typeface="+mn-ea"/>
          <a:cs typeface="+mn-cs"/>
        </a:defRPr>
      </a:lvl1pPr>
      <a:lvl2pPr marL="0" marR="0" indent="0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None/>
        <a:tabLst/>
        <a:defRPr sz="1350" kern="1200">
          <a:solidFill>
            <a:srgbClr val="706F6F"/>
          </a:solidFill>
          <a:latin typeface="HeliosCond" panose="02000506040000020004" pitchFamily="2" charset="0"/>
          <a:ea typeface="+mn-ea"/>
          <a:cs typeface="DIN Pro Cond" panose="020B0506020101010102" pitchFamily="34" charset="-52"/>
        </a:defRPr>
      </a:lvl2pPr>
      <a:lvl3pPr marL="263129" indent="-127397" algn="l" defTabSz="685800" rtl="0" eaLnBrk="1" latinLnBrk="0" hangingPunct="1">
        <a:spcBef>
          <a:spcPts val="225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rgbClr val="706F6F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387">
          <p15:clr>
            <a:srgbClr val="F26B43"/>
          </p15:clr>
        </p15:guide>
        <p15:guide id="3" pos="7439">
          <p15:clr>
            <a:srgbClr val="F26B43"/>
          </p15:clr>
        </p15:guide>
        <p15:guide id="4" pos="241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>
            <a:extLst>
              <a:ext uri="{FF2B5EF4-FFF2-40B4-BE49-F238E27FC236}">
                <a16:creationId xmlns:a16="http://schemas.microsoft.com/office/drawing/2014/main" id="{84132C1B-EF65-1646-BD54-1E9CA57632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5199" y="854083"/>
            <a:ext cx="5258801" cy="4751714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991BAAC-7BA9-5F43-96E9-AE589B007E9F}"/>
              </a:ext>
            </a:extLst>
          </p:cNvPr>
          <p:cNvSpPr/>
          <p:nvPr/>
        </p:nvSpPr>
        <p:spPr>
          <a:xfrm>
            <a:off x="3876055" y="854083"/>
            <a:ext cx="1896485" cy="5155811"/>
          </a:xfrm>
          <a:custGeom>
            <a:avLst/>
            <a:gdLst>
              <a:gd name="connsiteX0" fmla="*/ 0 w 7467600"/>
              <a:gd name="connsiteY0" fmla="*/ 0 h 6968836"/>
              <a:gd name="connsiteX1" fmla="*/ 7467600 w 7467600"/>
              <a:gd name="connsiteY1" fmla="*/ 0 h 6968836"/>
              <a:gd name="connsiteX2" fmla="*/ 7467600 w 7467600"/>
              <a:gd name="connsiteY2" fmla="*/ 6968836 h 6968836"/>
              <a:gd name="connsiteX3" fmla="*/ 0 w 7467600"/>
              <a:gd name="connsiteY3" fmla="*/ 6968836 h 6968836"/>
              <a:gd name="connsiteX4" fmla="*/ 0 w 7467600"/>
              <a:gd name="connsiteY4" fmla="*/ 0 h 6968836"/>
              <a:gd name="connsiteX0" fmla="*/ 0 w 7467600"/>
              <a:gd name="connsiteY0" fmla="*/ 0 h 6968836"/>
              <a:gd name="connsiteX1" fmla="*/ 7467600 w 7467600"/>
              <a:gd name="connsiteY1" fmla="*/ 0 h 6968836"/>
              <a:gd name="connsiteX2" fmla="*/ 5874328 w 7467600"/>
              <a:gd name="connsiteY2" fmla="*/ 6954982 h 6968836"/>
              <a:gd name="connsiteX3" fmla="*/ 0 w 7467600"/>
              <a:gd name="connsiteY3" fmla="*/ 6968836 h 6968836"/>
              <a:gd name="connsiteX4" fmla="*/ 0 w 7467600"/>
              <a:gd name="connsiteY4" fmla="*/ 0 h 6968836"/>
              <a:gd name="connsiteX0" fmla="*/ 13854 w 7481454"/>
              <a:gd name="connsiteY0" fmla="*/ 0 h 6954982"/>
              <a:gd name="connsiteX1" fmla="*/ 7481454 w 7481454"/>
              <a:gd name="connsiteY1" fmla="*/ 0 h 6954982"/>
              <a:gd name="connsiteX2" fmla="*/ 5888182 w 7481454"/>
              <a:gd name="connsiteY2" fmla="*/ 6954982 h 6954982"/>
              <a:gd name="connsiteX3" fmla="*/ 0 w 7481454"/>
              <a:gd name="connsiteY3" fmla="*/ 6954982 h 6954982"/>
              <a:gd name="connsiteX4" fmla="*/ 13854 w 7481454"/>
              <a:gd name="connsiteY4" fmla="*/ 0 h 6954982"/>
              <a:gd name="connsiteX0" fmla="*/ 13854 w 7481454"/>
              <a:gd name="connsiteY0" fmla="*/ 0 h 6954982"/>
              <a:gd name="connsiteX1" fmla="*/ 7481454 w 7481454"/>
              <a:gd name="connsiteY1" fmla="*/ 0 h 6954982"/>
              <a:gd name="connsiteX2" fmla="*/ 5888182 w 7481454"/>
              <a:gd name="connsiteY2" fmla="*/ 6954982 h 6954982"/>
              <a:gd name="connsiteX3" fmla="*/ 0 w 7481454"/>
              <a:gd name="connsiteY3" fmla="*/ 6954982 h 6954982"/>
              <a:gd name="connsiteX4" fmla="*/ 13854 w 7481454"/>
              <a:gd name="connsiteY4" fmla="*/ 0 h 6954982"/>
              <a:gd name="connsiteX0" fmla="*/ 13854 w 7481454"/>
              <a:gd name="connsiteY0" fmla="*/ 0 h 7053334"/>
              <a:gd name="connsiteX1" fmla="*/ 7481454 w 7481454"/>
              <a:gd name="connsiteY1" fmla="*/ 0 h 7053334"/>
              <a:gd name="connsiteX2" fmla="*/ 5347855 w 7481454"/>
              <a:gd name="connsiteY2" fmla="*/ 7053334 h 7053334"/>
              <a:gd name="connsiteX3" fmla="*/ 0 w 7481454"/>
              <a:gd name="connsiteY3" fmla="*/ 6954982 h 7053334"/>
              <a:gd name="connsiteX4" fmla="*/ 13854 w 7481454"/>
              <a:gd name="connsiteY4" fmla="*/ 0 h 7053334"/>
              <a:gd name="connsiteX0" fmla="*/ 13854 w 7333551"/>
              <a:gd name="connsiteY0" fmla="*/ 0 h 7053334"/>
              <a:gd name="connsiteX1" fmla="*/ 7333551 w 7333551"/>
              <a:gd name="connsiteY1" fmla="*/ 0 h 7053334"/>
              <a:gd name="connsiteX2" fmla="*/ 5347855 w 7333551"/>
              <a:gd name="connsiteY2" fmla="*/ 7053334 h 7053334"/>
              <a:gd name="connsiteX3" fmla="*/ 0 w 7333551"/>
              <a:gd name="connsiteY3" fmla="*/ 6954982 h 7053334"/>
              <a:gd name="connsiteX4" fmla="*/ 13854 w 7333551"/>
              <a:gd name="connsiteY4" fmla="*/ 0 h 7053334"/>
              <a:gd name="connsiteX0" fmla="*/ 13854 w 7333551"/>
              <a:gd name="connsiteY0" fmla="*/ 0 h 6954982"/>
              <a:gd name="connsiteX1" fmla="*/ 7333551 w 7333551"/>
              <a:gd name="connsiteY1" fmla="*/ 0 h 6954982"/>
              <a:gd name="connsiteX2" fmla="*/ 5335531 w 7333551"/>
              <a:gd name="connsiteY2" fmla="*/ 6954981 h 6954982"/>
              <a:gd name="connsiteX3" fmla="*/ 0 w 7333551"/>
              <a:gd name="connsiteY3" fmla="*/ 6954982 h 6954982"/>
              <a:gd name="connsiteX4" fmla="*/ 13854 w 7333551"/>
              <a:gd name="connsiteY4" fmla="*/ 0 h 6954982"/>
              <a:gd name="connsiteX0" fmla="*/ 13854 w 8666923"/>
              <a:gd name="connsiteY0" fmla="*/ 0 h 6954982"/>
              <a:gd name="connsiteX1" fmla="*/ 8666923 w 8666923"/>
              <a:gd name="connsiteY1" fmla="*/ 98352 h 6954982"/>
              <a:gd name="connsiteX2" fmla="*/ 5335531 w 8666923"/>
              <a:gd name="connsiteY2" fmla="*/ 6954981 h 6954982"/>
              <a:gd name="connsiteX3" fmla="*/ 0 w 8666923"/>
              <a:gd name="connsiteY3" fmla="*/ 6954982 h 6954982"/>
              <a:gd name="connsiteX4" fmla="*/ 13854 w 8666923"/>
              <a:gd name="connsiteY4" fmla="*/ 0 h 6954982"/>
              <a:gd name="connsiteX0" fmla="*/ 13854 w 8666923"/>
              <a:gd name="connsiteY0" fmla="*/ 1 h 6954983"/>
              <a:gd name="connsiteX1" fmla="*/ 8666923 w 8666923"/>
              <a:gd name="connsiteY1" fmla="*/ 0 h 6954983"/>
              <a:gd name="connsiteX2" fmla="*/ 5335531 w 8666923"/>
              <a:gd name="connsiteY2" fmla="*/ 6954982 h 6954983"/>
              <a:gd name="connsiteX3" fmla="*/ 0 w 8666923"/>
              <a:gd name="connsiteY3" fmla="*/ 6954983 h 6954983"/>
              <a:gd name="connsiteX4" fmla="*/ 13854 w 8666923"/>
              <a:gd name="connsiteY4" fmla="*/ 1 h 6954983"/>
              <a:gd name="connsiteX0" fmla="*/ 13854 w 8666923"/>
              <a:gd name="connsiteY0" fmla="*/ 1 h 7029168"/>
              <a:gd name="connsiteX1" fmla="*/ 8666923 w 8666923"/>
              <a:gd name="connsiteY1" fmla="*/ 0 h 7029168"/>
              <a:gd name="connsiteX2" fmla="*/ 823516 w 8666923"/>
              <a:gd name="connsiteY2" fmla="*/ 7029168 h 7029168"/>
              <a:gd name="connsiteX3" fmla="*/ 0 w 8666923"/>
              <a:gd name="connsiteY3" fmla="*/ 6954983 h 7029168"/>
              <a:gd name="connsiteX4" fmla="*/ 13854 w 8666923"/>
              <a:gd name="connsiteY4" fmla="*/ 1 h 7029168"/>
              <a:gd name="connsiteX0" fmla="*/ 13854 w 8666923"/>
              <a:gd name="connsiteY0" fmla="*/ 1 h 7041532"/>
              <a:gd name="connsiteX1" fmla="*/ 8666923 w 8666923"/>
              <a:gd name="connsiteY1" fmla="*/ 0 h 7041532"/>
              <a:gd name="connsiteX2" fmla="*/ 1434518 w 8666923"/>
              <a:gd name="connsiteY2" fmla="*/ 7041532 h 7041532"/>
              <a:gd name="connsiteX3" fmla="*/ 0 w 8666923"/>
              <a:gd name="connsiteY3" fmla="*/ 6954983 h 7041532"/>
              <a:gd name="connsiteX4" fmla="*/ 13854 w 8666923"/>
              <a:gd name="connsiteY4" fmla="*/ 1 h 7041532"/>
              <a:gd name="connsiteX0" fmla="*/ 13854 w 9747926"/>
              <a:gd name="connsiteY0" fmla="*/ 1 h 7041532"/>
              <a:gd name="connsiteX1" fmla="*/ 9747926 w 9747926"/>
              <a:gd name="connsiteY1" fmla="*/ 0 h 7041532"/>
              <a:gd name="connsiteX2" fmla="*/ 1434518 w 9747926"/>
              <a:gd name="connsiteY2" fmla="*/ 7041532 h 7041532"/>
              <a:gd name="connsiteX3" fmla="*/ 0 w 9747926"/>
              <a:gd name="connsiteY3" fmla="*/ 6954983 h 7041532"/>
              <a:gd name="connsiteX4" fmla="*/ 13854 w 9747926"/>
              <a:gd name="connsiteY4" fmla="*/ 1 h 7041532"/>
              <a:gd name="connsiteX0" fmla="*/ 13854 w 9747926"/>
              <a:gd name="connsiteY0" fmla="*/ 1 h 6967346"/>
              <a:gd name="connsiteX1" fmla="*/ 9747926 w 9747926"/>
              <a:gd name="connsiteY1" fmla="*/ 0 h 6967346"/>
              <a:gd name="connsiteX2" fmla="*/ 1481518 w 9747926"/>
              <a:gd name="connsiteY2" fmla="*/ 6967346 h 6967346"/>
              <a:gd name="connsiteX3" fmla="*/ 0 w 9747926"/>
              <a:gd name="connsiteY3" fmla="*/ 6954983 h 6967346"/>
              <a:gd name="connsiteX4" fmla="*/ 13854 w 9747926"/>
              <a:gd name="connsiteY4" fmla="*/ 1 h 6967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47926" h="6967346">
                <a:moveTo>
                  <a:pt x="13854" y="1"/>
                </a:moveTo>
                <a:lnTo>
                  <a:pt x="9747926" y="0"/>
                </a:lnTo>
                <a:lnTo>
                  <a:pt x="1481518" y="6967346"/>
                </a:lnTo>
                <a:lnTo>
                  <a:pt x="0" y="6954983"/>
                </a:lnTo>
                <a:lnTo>
                  <a:pt x="13854" y="1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spcBef>
                <a:spcPts val="450"/>
              </a:spcBef>
            </a:pPr>
            <a:endParaRPr lang="ru-DE" sz="900" dirty="0">
              <a:solidFill>
                <a:srgbClr val="3C3C3C"/>
              </a:solidFill>
              <a:latin typeface="Arial Narrow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675" y="1253964"/>
            <a:ext cx="8521487" cy="354467"/>
          </a:xfrm>
        </p:spPr>
        <p:txBody>
          <a:bodyPr/>
          <a:lstStyle/>
          <a:p>
            <a:r>
              <a:rPr lang="ru-RU" dirty="0">
                <a:latin typeface="Arial Narrow" panose="020B0604020202020204" pitchFamily="34" charset="0"/>
                <a:cs typeface="Arial Narrow" panose="020B0604020202020204" pitchFamily="34" charset="0"/>
              </a:rPr>
              <a:t>Общая информация о компании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86679" y="1825553"/>
            <a:ext cx="4822405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685800" fontAlgn="base"/>
            <a:r>
              <a:rPr lang="ru-RU" sz="900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Газпромнефть-Нефтесервис» - управляющая компания, которая на сегодняшний день ведет 6 бизнес-направлений: оказание услуг в сфере </a:t>
            </a:r>
            <a:r>
              <a:rPr lang="ru-RU" sz="900" dirty="0" err="1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</a:t>
            </a:r>
            <a:r>
              <a:rPr lang="ru-RU" sz="900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и теплоснабжения, оказание геофизических услуг, управление работой с подрядными организациями «Газпром нефти», технический аудит подрядных организаций, операционная поддержка бизнеса дирекции по добыче «Газпром нефти» и проект по лизингу бурового оборудования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6523" y="4239976"/>
            <a:ext cx="3628361" cy="142346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fontAlgn="base">
              <a:spcAft>
                <a:spcPts val="0"/>
              </a:spcAft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>
              <a:spcAft>
                <a:spcPts val="300"/>
              </a:spcAft>
              <a:buClr>
                <a:srgbClr val="0070BA"/>
              </a:buClr>
            </a:pPr>
            <a:r>
              <a:rPr lang="ru-RU" sz="1350" b="1" dirty="0">
                <a:solidFill>
                  <a:srgbClr val="0070BA"/>
                </a:solidFill>
                <a:latin typeface="Arial Narrow"/>
              </a:rPr>
              <a:t>ЗАДАЧИ КОМПАНИИ:</a:t>
            </a:r>
          </a:p>
          <a:p>
            <a:pPr marL="128588" indent="-128588" defTabSz="685800">
              <a:spcAft>
                <a:spcPts val="300"/>
              </a:spcAft>
              <a:buClr>
                <a:srgbClr val="0070BA"/>
              </a:buClr>
              <a:buFont typeface="Wingdings" pitchFamily="2" charset="2"/>
              <a:buChar char="§"/>
            </a:pPr>
            <a:r>
              <a:rPr lang="ru-RU" sz="900" dirty="0">
                <a:solidFill>
                  <a:srgbClr val="3C3C3C"/>
                </a:solidFill>
              </a:rPr>
              <a:t>Создание центра компетенций и координация работы с непрофильными активами</a:t>
            </a:r>
          </a:p>
          <a:p>
            <a:pPr marL="128588" indent="-128588" defTabSz="685800">
              <a:spcAft>
                <a:spcPts val="300"/>
              </a:spcAft>
              <a:buClr>
                <a:srgbClr val="0070BA"/>
              </a:buClr>
              <a:buFont typeface="Wingdings" pitchFamily="2" charset="2"/>
              <a:buChar char="§"/>
            </a:pPr>
            <a:r>
              <a:rPr lang="ru-RU" sz="900" dirty="0">
                <a:solidFill>
                  <a:srgbClr val="3C3C3C"/>
                </a:solidFill>
              </a:rPr>
              <a:t>Разделение функций между заказчиком и подрядчиком. Развитие рынка сервисных услуг и повышение качества сервиса </a:t>
            </a:r>
          </a:p>
          <a:p>
            <a:pPr marL="128588" indent="-128588" defTabSz="685800">
              <a:spcAft>
                <a:spcPts val="300"/>
              </a:spcAft>
              <a:buClr>
                <a:srgbClr val="0070BA"/>
              </a:buClr>
              <a:buFont typeface="Wingdings" pitchFamily="2" charset="2"/>
              <a:buChar char="§"/>
            </a:pPr>
            <a:r>
              <a:rPr lang="ru-RU" sz="900" dirty="0">
                <a:solidFill>
                  <a:srgbClr val="3C3C3C"/>
                </a:solidFill>
              </a:rPr>
              <a:t>Повышение эффективности системы управления, оптимизация затрат</a:t>
            </a:r>
          </a:p>
          <a:p>
            <a:pPr defTabSz="685800"/>
            <a:endParaRPr lang="ru-RU" sz="900" dirty="0">
              <a:solidFill>
                <a:srgbClr val="3C3C3C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0323" y="2791943"/>
            <a:ext cx="42816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685800" fontAlgn="base"/>
            <a:r>
              <a:rPr lang="ru-RU" sz="900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Газпромнефть-Нефтесервис» управляет двумя производственными предприятиями ПАО «Газпром нефть»: ООО «</a:t>
            </a:r>
            <a:r>
              <a:rPr lang="ru-RU" sz="900" dirty="0" err="1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ябрьскэнергонефть</a:t>
            </a:r>
            <a:r>
              <a:rPr lang="ru-RU" sz="900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, ООО «</a:t>
            </a:r>
            <a:r>
              <a:rPr lang="ru-RU" sz="900" dirty="0" err="1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промнефть-Ноябрьскнефтегазгеофизика</a:t>
            </a:r>
            <a:r>
              <a:rPr lang="ru-RU" sz="900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</a:p>
          <a:p>
            <a:pPr defTabSz="685800" fontAlgn="base"/>
            <a:r>
              <a:rPr lang="ru-RU" sz="900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ография оказания </a:t>
            </a:r>
            <a:r>
              <a:rPr lang="ru-RU" sz="900" dirty="0" err="1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есервисных</a:t>
            </a:r>
            <a:r>
              <a:rPr lang="ru-RU" sz="900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слуг и реализации проектов компании охватывает ключевые нефтедобывающие регионы – Ямало-Ненецкий и Ханты-Мансийский автономные округа, Томскую, Омскую и Оренбургскую области, Якутию, Красноярский край. Компания также участвует в реализации шельфовых проектов и проектов «Газпром нефти в Сербии.   </a:t>
            </a:r>
          </a:p>
        </p:txBody>
      </p:sp>
      <p:sp>
        <p:nvSpPr>
          <p:cNvPr id="16" name="Параллелограмм 15">
            <a:extLst>
              <a:ext uri="{FF2B5EF4-FFF2-40B4-BE49-F238E27FC236}">
                <a16:creationId xmlns:a16="http://schemas.microsoft.com/office/drawing/2014/main" id="{17EF4DE9-7703-3C4C-9E02-4559DC3C3AEA}"/>
              </a:ext>
            </a:extLst>
          </p:cNvPr>
          <p:cNvSpPr/>
          <p:nvPr/>
        </p:nvSpPr>
        <p:spPr>
          <a:xfrm>
            <a:off x="4301713" y="2164023"/>
            <a:ext cx="1285512" cy="3845872"/>
          </a:xfrm>
          <a:prstGeom prst="parallelogram">
            <a:avLst>
              <a:gd name="adj" fmla="val 94037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spcBef>
                <a:spcPts val="450"/>
              </a:spcBef>
            </a:pPr>
            <a:endParaRPr lang="ru-RU" sz="1200" dirty="0">
              <a:solidFill>
                <a:srgbClr val="FFFFFF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705729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EM5RMQhyyASAmF0nJ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Arial 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pn_report</Template>
  <TotalTime>1</TotalTime>
  <Words>165</Words>
  <Application>Microsoft Office PowerPoint</Application>
  <PresentationFormat>Произвольный</PresentationFormat>
  <Paragraphs>8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0" baseType="lpstr">
      <vt:lpstr>Arial</vt:lpstr>
      <vt:lpstr>Arial Narrow</vt:lpstr>
      <vt:lpstr>DIN Pro Cond</vt:lpstr>
      <vt:lpstr>DIN Pro Cond Bold</vt:lpstr>
      <vt:lpstr>HeliosCond</vt:lpstr>
      <vt:lpstr>Myriad Pro</vt:lpstr>
      <vt:lpstr>Wingdings</vt:lpstr>
      <vt:lpstr>1_gpn_report</vt:lpstr>
      <vt:lpstr>Слайд think-cell</vt:lpstr>
      <vt:lpstr>Общая информация о компании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щая информация о компании</dc:title>
  <dc:creator>Сысоева Юлия Анатольевна</dc:creator>
  <cp:lastModifiedBy>Сысоева Юлия Анатольевна</cp:lastModifiedBy>
  <cp:revision>1</cp:revision>
  <dcterms:created xsi:type="dcterms:W3CDTF">2023-01-27T12:22:50Z</dcterms:created>
  <dcterms:modified xsi:type="dcterms:W3CDTF">2023-01-27T12:24:32Z</dcterms:modified>
</cp:coreProperties>
</file>